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9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ppt/tags/tag23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2"/>
    <p:sldMasterId id="2147483667" r:id="rId3"/>
  </p:sldMasterIdLst>
  <p:notesMasterIdLst>
    <p:notesMasterId r:id="rId14"/>
  </p:notesMasterIdLst>
  <p:handoutMasterIdLst>
    <p:handoutMasterId r:id="rId15"/>
  </p:handoutMasterIdLst>
  <p:sldIdLst>
    <p:sldId id="367" r:id="rId4"/>
    <p:sldId id="485" r:id="rId5"/>
    <p:sldId id="486" r:id="rId6"/>
    <p:sldId id="2145706725" r:id="rId7"/>
    <p:sldId id="2145706724" r:id="rId8"/>
    <p:sldId id="487" r:id="rId9"/>
    <p:sldId id="488" r:id="rId10"/>
    <p:sldId id="489" r:id="rId11"/>
    <p:sldId id="490" r:id="rId12"/>
    <p:sldId id="491" r:id="rId1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123" d="100"/>
          <a:sy n="123" d="100"/>
        </p:scale>
        <p:origin x="108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2.xml"/><Relationship Id="rId21" Type="http://schemas.openxmlformats.org/officeDocument/2006/relationships/customXml" Target="../customXml/item2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Relationship Id="rId22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 Jiaxue" userId="5d583a23-7452-48d2-967e-da17cb854682" providerId="ADAL" clId="{8C543BDE-AC3B-4154-8C7A-53D8F574B355}"/>
    <pc:docChg chg="custSel addSld modSld sldOrd modMainMaster modNotesMaster modHandout">
      <pc:chgData name="LI Jiaxue" userId="5d583a23-7452-48d2-967e-da17cb854682" providerId="ADAL" clId="{8C543BDE-AC3B-4154-8C7A-53D8F574B355}" dt="2023-02-02T17:51:10.042" v="3125"/>
      <pc:docMkLst>
        <pc:docMk/>
      </pc:docMkLst>
      <pc:sldChg chg="addSp delSp modSp mod modNotes">
        <pc:chgData name="LI Jiaxue" userId="5d583a23-7452-48d2-967e-da17cb854682" providerId="ADAL" clId="{8C543BDE-AC3B-4154-8C7A-53D8F574B355}" dt="2023-02-02T17:51:09.985" v="3053"/>
        <pc:sldMkLst>
          <pc:docMk/>
          <pc:sldMk cId="721163398" sldId="367"/>
        </pc:sldMkLst>
        <pc:spChg chg="mod">
          <ac:chgData name="LI Jiaxue" userId="5d583a23-7452-48d2-967e-da17cb854682" providerId="ADAL" clId="{8C543BDE-AC3B-4154-8C7A-53D8F574B355}" dt="2023-02-02T17:51:09.750" v="2824"/>
          <ac:spMkLst>
            <pc:docMk/>
            <pc:sldMk cId="721163398" sldId="367"/>
            <ac:spMk id="7" creationId="{7A5A69AF-2D82-41FB-A61A-4AC8326B4296}"/>
          </ac:spMkLst>
        </pc:spChg>
        <pc:picChg chg="del">
          <ac:chgData name="LI Jiaxue" userId="5d583a23-7452-48d2-967e-da17cb854682" providerId="ADAL" clId="{8C543BDE-AC3B-4154-8C7A-53D8F574B355}" dt="2023-02-02T16:19:53.023" v="994"/>
          <ac:picMkLst>
            <pc:docMk/>
            <pc:sldMk cId="721163398" sldId="367"/>
            <ac:picMk id="9" creationId="{3AEABB7B-3DF2-43F1-A5D8-6143CC973E17}"/>
          </ac:picMkLst>
        </pc:picChg>
        <pc:picChg chg="add del mod ord">
          <ac:chgData name="LI Jiaxue" userId="5d583a23-7452-48d2-967e-da17cb854682" providerId="ADAL" clId="{8C543BDE-AC3B-4154-8C7A-53D8F574B355}" dt="2023-02-02T17:16:04.131" v="2330"/>
          <ac:picMkLst>
            <pc:docMk/>
            <pc:sldMk cId="721163398" sldId="367"/>
            <ac:picMk id="11" creationId="{D3672F60-114C-4EC7-98C7-3AAF21152B0D}"/>
          </ac:picMkLst>
        </pc:picChg>
        <pc:picChg chg="add del mod ord">
          <ac:chgData name="LI Jiaxue" userId="5d583a23-7452-48d2-967e-da17cb854682" providerId="ADAL" clId="{8C543BDE-AC3B-4154-8C7A-53D8F574B355}" dt="2023-02-02T17:46:57.518" v="2617"/>
          <ac:picMkLst>
            <pc:docMk/>
            <pc:sldMk cId="721163398" sldId="367"/>
            <ac:picMk id="13" creationId="{D5808E97-113C-424C-927D-0ABC6B52E3D4}"/>
          </ac:picMkLst>
        </pc:picChg>
        <pc:picChg chg="add del mod ord">
          <ac:chgData name="LI Jiaxue" userId="5d583a23-7452-48d2-967e-da17cb854682" providerId="ADAL" clId="{8C543BDE-AC3B-4154-8C7A-53D8F574B355}" dt="2023-02-02T17:51:09.969" v="3027"/>
          <ac:picMkLst>
            <pc:docMk/>
            <pc:sldMk cId="721163398" sldId="367"/>
            <ac:picMk id="15" creationId="{971BE802-CC9E-49B6-B69D-7429E16CE066}"/>
          </ac:picMkLst>
        </pc:picChg>
        <pc:picChg chg="add mod ord">
          <ac:chgData name="LI Jiaxue" userId="5d583a23-7452-48d2-967e-da17cb854682" providerId="ADAL" clId="{8C543BDE-AC3B-4154-8C7A-53D8F574B355}" dt="2023-02-02T17:51:09.985" v="3053"/>
          <ac:picMkLst>
            <pc:docMk/>
            <pc:sldMk cId="721163398" sldId="367"/>
            <ac:picMk id="17" creationId="{FE049563-57AB-4C8C-A486-1F3EA1C2FC1C}"/>
          </ac:picMkLst>
        </pc:picChg>
      </pc:sldChg>
      <pc:sldChg chg="addSp delSp modSp mod">
        <pc:chgData name="LI Jiaxue" userId="5d583a23-7452-48d2-967e-da17cb854682" providerId="ADAL" clId="{8C543BDE-AC3B-4154-8C7A-53D8F574B355}" dt="2023-02-02T17:51:09.991" v="3061"/>
        <pc:sldMkLst>
          <pc:docMk/>
          <pc:sldMk cId="215659375" sldId="485"/>
        </pc:sldMkLst>
        <pc:spChg chg="mod">
          <ac:chgData name="LI Jiaxue" userId="5d583a23-7452-48d2-967e-da17cb854682" providerId="ADAL" clId="{8C543BDE-AC3B-4154-8C7A-53D8F574B355}" dt="2023-02-02T17:51:09.762" v="2835" actId="947"/>
          <ac:spMkLst>
            <pc:docMk/>
            <pc:sldMk cId="215659375" sldId="485"/>
            <ac:spMk id="4" creationId="{00000000-0000-0000-0000-000000000000}"/>
          </ac:spMkLst>
        </pc:spChg>
        <pc:grpChg chg="mod">
          <ac:chgData name="LI Jiaxue" userId="5d583a23-7452-48d2-967e-da17cb854682" providerId="ADAL" clId="{8C543BDE-AC3B-4154-8C7A-53D8F574B355}" dt="2023-02-02T16:06:55.520" v="542" actId="1035"/>
          <ac:grpSpMkLst>
            <pc:docMk/>
            <pc:sldMk cId="215659375" sldId="485"/>
            <ac:grpSpMk id="12" creationId="{00000000-0000-0000-0000-000000000000}"/>
          </ac:grpSpMkLst>
        </pc:grpChg>
        <pc:grpChg chg="mod">
          <ac:chgData name="LI Jiaxue" userId="5d583a23-7452-48d2-967e-da17cb854682" providerId="ADAL" clId="{8C543BDE-AC3B-4154-8C7A-53D8F574B355}" dt="2023-02-02T16:06:55.520" v="542" actId="1035"/>
          <ac:grpSpMkLst>
            <pc:docMk/>
            <pc:sldMk cId="215659375" sldId="485"/>
            <ac:grpSpMk id="24" creationId="{00000000-0000-0000-0000-000000000000}"/>
          </ac:grpSpMkLst>
        </pc:grpChg>
        <pc:picChg chg="del">
          <ac:chgData name="LI Jiaxue" userId="5d583a23-7452-48d2-967e-da17cb854682" providerId="ADAL" clId="{8C543BDE-AC3B-4154-8C7A-53D8F574B355}" dt="2023-02-02T16:19:53.024" v="996"/>
          <ac:picMkLst>
            <pc:docMk/>
            <pc:sldMk cId="215659375" sldId="485"/>
            <ac:picMk id="6" creationId="{F854DD6F-5782-4779-9981-71B9B2A97CC1}"/>
          </ac:picMkLst>
        </pc:picChg>
        <pc:picChg chg="add del mod ord">
          <ac:chgData name="LI Jiaxue" userId="5d583a23-7452-48d2-967e-da17cb854682" providerId="ADAL" clId="{8C543BDE-AC3B-4154-8C7A-53D8F574B355}" dt="2023-02-02T17:16:04.132" v="2332"/>
          <ac:picMkLst>
            <pc:docMk/>
            <pc:sldMk cId="215659375" sldId="485"/>
            <ac:picMk id="8" creationId="{884AC182-4959-4A62-9629-91F988A51BB0}"/>
          </ac:picMkLst>
        </pc:picChg>
        <pc:picChg chg="add del mod ord">
          <ac:chgData name="LI Jiaxue" userId="5d583a23-7452-48d2-967e-da17cb854682" providerId="ADAL" clId="{8C543BDE-AC3B-4154-8C7A-53D8F574B355}" dt="2023-02-02T17:46:57.519" v="2619"/>
          <ac:picMkLst>
            <pc:docMk/>
            <pc:sldMk cId="215659375" sldId="485"/>
            <ac:picMk id="10" creationId="{B097FE9A-E0F6-448D-A4F2-615DDA95F423}"/>
          </ac:picMkLst>
        </pc:picChg>
        <pc:picChg chg="add del mod ord">
          <ac:chgData name="LI Jiaxue" userId="5d583a23-7452-48d2-967e-da17cb854682" providerId="ADAL" clId="{8C543BDE-AC3B-4154-8C7A-53D8F574B355}" dt="2023-02-02T17:51:09.970" v="3029"/>
          <ac:picMkLst>
            <pc:docMk/>
            <pc:sldMk cId="215659375" sldId="485"/>
            <ac:picMk id="18" creationId="{7BFDF804-5C99-4D9E-8B85-B948EBFBFFA7}"/>
          </ac:picMkLst>
        </pc:picChg>
        <pc:picChg chg="add mod ord">
          <ac:chgData name="LI Jiaxue" userId="5d583a23-7452-48d2-967e-da17cb854682" providerId="ADAL" clId="{8C543BDE-AC3B-4154-8C7A-53D8F574B355}" dt="2023-02-02T17:51:09.991" v="3061"/>
          <ac:picMkLst>
            <pc:docMk/>
            <pc:sldMk cId="215659375" sldId="485"/>
            <ac:picMk id="20" creationId="{BB21011A-A16A-4E84-AB40-C1D56C4E2CBD}"/>
          </ac:picMkLst>
        </pc:picChg>
      </pc:sldChg>
      <pc:sldChg chg="addSp delSp modSp mod modNotes">
        <pc:chgData name="LI Jiaxue" userId="5d583a23-7452-48d2-967e-da17cb854682" providerId="ADAL" clId="{8C543BDE-AC3B-4154-8C7A-53D8F574B355}" dt="2023-02-02T17:51:09.997" v="3069"/>
        <pc:sldMkLst>
          <pc:docMk/>
          <pc:sldMk cId="3485784365" sldId="486"/>
        </pc:sldMkLst>
        <pc:spChg chg="mod">
          <ac:chgData name="LI Jiaxue" userId="5d583a23-7452-48d2-967e-da17cb854682" providerId="ADAL" clId="{8C543BDE-AC3B-4154-8C7A-53D8F574B355}" dt="2023-02-02T17:51:09.773" v="2846" actId="947"/>
          <ac:spMkLst>
            <pc:docMk/>
            <pc:sldMk cId="3485784365" sldId="486"/>
            <ac:spMk id="4" creationId="{C92A5F14-967B-41AA-884D-6776486AC9B8}"/>
          </ac:spMkLst>
        </pc:spChg>
        <pc:spChg chg="mod">
          <ac:chgData name="LI Jiaxue" userId="5d583a23-7452-48d2-967e-da17cb854682" providerId="ADAL" clId="{8C543BDE-AC3B-4154-8C7A-53D8F574B355}" dt="2023-02-02T17:50:46.968" v="2776" actId="14100"/>
          <ac:spMkLst>
            <pc:docMk/>
            <pc:sldMk cId="3485784365" sldId="486"/>
            <ac:spMk id="11" creationId="{F6C274B2-9AF8-405B-8AC6-C23DC26F347A}"/>
          </ac:spMkLst>
        </pc:spChg>
        <pc:spChg chg="mod">
          <ac:chgData name="LI Jiaxue" userId="5d583a23-7452-48d2-967e-da17cb854682" providerId="ADAL" clId="{8C543BDE-AC3B-4154-8C7A-53D8F574B355}" dt="2023-02-02T17:50:59.140" v="2798" actId="1035"/>
          <ac:spMkLst>
            <pc:docMk/>
            <pc:sldMk cId="3485784365" sldId="486"/>
            <ac:spMk id="18" creationId="{F5270734-670B-44C0-8482-3B641A1E7AEA}"/>
          </ac:spMkLst>
        </pc:spChg>
        <pc:spChg chg="mod">
          <ac:chgData name="LI Jiaxue" userId="5d583a23-7452-48d2-967e-da17cb854682" providerId="ADAL" clId="{8C543BDE-AC3B-4154-8C7A-53D8F574B355}" dt="2023-02-02T17:51:03.049" v="2799" actId="1076"/>
          <ac:spMkLst>
            <pc:docMk/>
            <pc:sldMk cId="3485784365" sldId="486"/>
            <ac:spMk id="19" creationId="{03294D37-AC55-4933-93B4-FBD1155B9938}"/>
          </ac:spMkLst>
        </pc:spChg>
        <pc:picChg chg="mod">
          <ac:chgData name="LI Jiaxue" userId="5d583a23-7452-48d2-967e-da17cb854682" providerId="ADAL" clId="{8C543BDE-AC3B-4154-8C7A-53D8F574B355}" dt="2023-02-02T17:51:04.690" v="2800" actId="1076"/>
          <ac:picMkLst>
            <pc:docMk/>
            <pc:sldMk cId="3485784365" sldId="486"/>
            <ac:picMk id="13" creationId="{A8AAC9AB-4D7C-4A56-8839-741D218BE9BB}"/>
          </ac:picMkLst>
        </pc:picChg>
        <pc:picChg chg="del">
          <ac:chgData name="LI Jiaxue" userId="5d583a23-7452-48d2-967e-da17cb854682" providerId="ADAL" clId="{8C543BDE-AC3B-4154-8C7A-53D8F574B355}" dt="2023-02-02T16:19:53.025" v="998"/>
          <ac:picMkLst>
            <pc:docMk/>
            <pc:sldMk cId="3485784365" sldId="486"/>
            <ac:picMk id="21" creationId="{EE57006B-09D3-48B1-BB40-64DE441F779A}"/>
          </ac:picMkLst>
        </pc:picChg>
        <pc:picChg chg="add del mod ord">
          <ac:chgData name="LI Jiaxue" userId="5d583a23-7452-48d2-967e-da17cb854682" providerId="ADAL" clId="{8C543BDE-AC3B-4154-8C7A-53D8F574B355}" dt="2023-02-02T17:16:04.133" v="2334"/>
          <ac:picMkLst>
            <pc:docMk/>
            <pc:sldMk cId="3485784365" sldId="486"/>
            <ac:picMk id="23" creationId="{7838BB9E-1959-42A5-A456-40DF4EC768A3}"/>
          </ac:picMkLst>
        </pc:picChg>
        <pc:picChg chg="add del mod ord">
          <ac:chgData name="LI Jiaxue" userId="5d583a23-7452-48d2-967e-da17cb854682" providerId="ADAL" clId="{8C543BDE-AC3B-4154-8C7A-53D8F574B355}" dt="2023-02-02T17:46:57.520" v="2621"/>
          <ac:picMkLst>
            <pc:docMk/>
            <pc:sldMk cId="3485784365" sldId="486"/>
            <ac:picMk id="25" creationId="{9BD1162D-88FB-4D5C-A16E-99231F760C08}"/>
          </ac:picMkLst>
        </pc:picChg>
        <pc:picChg chg="add del mod ord">
          <ac:chgData name="LI Jiaxue" userId="5d583a23-7452-48d2-967e-da17cb854682" providerId="ADAL" clId="{8C543BDE-AC3B-4154-8C7A-53D8F574B355}" dt="2023-02-02T17:51:09.971" v="3031"/>
          <ac:picMkLst>
            <pc:docMk/>
            <pc:sldMk cId="3485784365" sldId="486"/>
            <ac:picMk id="27" creationId="{55686F22-EC6A-4E4B-A6B7-A513075A1F69}"/>
          </ac:picMkLst>
        </pc:picChg>
        <pc:picChg chg="add mod ord">
          <ac:chgData name="LI Jiaxue" userId="5d583a23-7452-48d2-967e-da17cb854682" providerId="ADAL" clId="{8C543BDE-AC3B-4154-8C7A-53D8F574B355}" dt="2023-02-02T17:51:09.997" v="3069"/>
          <ac:picMkLst>
            <pc:docMk/>
            <pc:sldMk cId="3485784365" sldId="486"/>
            <ac:picMk id="29" creationId="{1D6CF805-6EAB-40F5-9EE5-C06D93D4BD33}"/>
          </ac:picMkLst>
        </pc:picChg>
      </pc:sldChg>
      <pc:sldChg chg="addSp delSp modSp mod">
        <pc:chgData name="LI Jiaxue" userId="5d583a23-7452-48d2-967e-da17cb854682" providerId="ADAL" clId="{8C543BDE-AC3B-4154-8C7A-53D8F574B355}" dt="2023-02-02T17:51:10.017" v="3093"/>
        <pc:sldMkLst>
          <pc:docMk/>
          <pc:sldMk cId="1610620227" sldId="487"/>
        </pc:sldMkLst>
        <pc:spChg chg="mod">
          <ac:chgData name="LI Jiaxue" userId="5d583a23-7452-48d2-967e-da17cb854682" providerId="ADAL" clId="{8C543BDE-AC3B-4154-8C7A-53D8F574B355}" dt="2023-02-02T17:51:09.808" v="2879" actId="947"/>
          <ac:spMkLst>
            <pc:docMk/>
            <pc:sldMk cId="1610620227" sldId="487"/>
            <ac:spMk id="4" creationId="{00000000-0000-0000-0000-000000000000}"/>
          </ac:spMkLst>
        </pc:spChg>
        <pc:spChg chg="mod">
          <ac:chgData name="LI Jiaxue" userId="5d583a23-7452-48d2-967e-da17cb854682" providerId="ADAL" clId="{8C543BDE-AC3B-4154-8C7A-53D8F574B355}" dt="2023-02-02T16:11:58.995" v="773" actId="20577"/>
          <ac:spMkLst>
            <pc:docMk/>
            <pc:sldMk cId="1610620227" sldId="487"/>
            <ac:spMk id="5" creationId="{00000000-0000-0000-0000-000000000000}"/>
          </ac:spMkLst>
        </pc:spChg>
        <pc:grpChg chg="mod">
          <ac:chgData name="LI Jiaxue" userId="5d583a23-7452-48d2-967e-da17cb854682" providerId="ADAL" clId="{8C543BDE-AC3B-4154-8C7A-53D8F574B355}" dt="2023-02-02T16:07:30.020" v="587" actId="1036"/>
          <ac:grpSpMkLst>
            <pc:docMk/>
            <pc:sldMk cId="1610620227" sldId="487"/>
            <ac:grpSpMk id="12" creationId="{00000000-0000-0000-0000-000000000000}"/>
          </ac:grpSpMkLst>
        </pc:grpChg>
        <pc:grpChg chg="mod">
          <ac:chgData name="LI Jiaxue" userId="5d583a23-7452-48d2-967e-da17cb854682" providerId="ADAL" clId="{8C543BDE-AC3B-4154-8C7A-53D8F574B355}" dt="2023-02-02T16:07:37.131" v="622" actId="1036"/>
          <ac:grpSpMkLst>
            <pc:docMk/>
            <pc:sldMk cId="1610620227" sldId="487"/>
            <ac:grpSpMk id="24" creationId="{00000000-0000-0000-0000-000000000000}"/>
          </ac:grpSpMkLst>
        </pc:grpChg>
        <pc:picChg chg="del">
          <ac:chgData name="LI Jiaxue" userId="5d583a23-7452-48d2-967e-da17cb854682" providerId="ADAL" clId="{8C543BDE-AC3B-4154-8C7A-53D8F574B355}" dt="2023-02-02T16:19:53.025" v="1000"/>
          <ac:picMkLst>
            <pc:docMk/>
            <pc:sldMk cId="1610620227" sldId="487"/>
            <ac:picMk id="8" creationId="{59C3F921-707E-471F-8932-CB1208985440}"/>
          </ac:picMkLst>
        </pc:picChg>
        <pc:picChg chg="add del mod ord">
          <ac:chgData name="LI Jiaxue" userId="5d583a23-7452-48d2-967e-da17cb854682" providerId="ADAL" clId="{8C543BDE-AC3B-4154-8C7A-53D8F574B355}" dt="2023-02-02T17:16:04.134" v="2336"/>
          <ac:picMkLst>
            <pc:docMk/>
            <pc:sldMk cId="1610620227" sldId="487"/>
            <ac:picMk id="10" creationId="{39E73E97-1BDA-4447-895F-7CBAFBB33625}"/>
          </ac:picMkLst>
        </pc:picChg>
        <pc:picChg chg="add del mod ord">
          <ac:chgData name="LI Jiaxue" userId="5d583a23-7452-48d2-967e-da17cb854682" providerId="ADAL" clId="{8C543BDE-AC3B-4154-8C7A-53D8F574B355}" dt="2023-02-02T17:46:57.520" v="2623"/>
          <ac:picMkLst>
            <pc:docMk/>
            <pc:sldMk cId="1610620227" sldId="487"/>
            <ac:picMk id="15" creationId="{30192C30-665D-49AD-BB81-31F1B21B549A}"/>
          </ac:picMkLst>
        </pc:picChg>
        <pc:picChg chg="add del mod ord">
          <ac:chgData name="LI Jiaxue" userId="5d583a23-7452-48d2-967e-da17cb854682" providerId="ADAL" clId="{8C543BDE-AC3B-4154-8C7A-53D8F574B355}" dt="2023-02-02T17:51:09.973" v="3037"/>
          <ac:picMkLst>
            <pc:docMk/>
            <pc:sldMk cId="1610620227" sldId="487"/>
            <ac:picMk id="17" creationId="{BF6D435C-364D-4C19-9C0A-EF2088385FAA}"/>
          </ac:picMkLst>
        </pc:picChg>
        <pc:picChg chg="add mod ord">
          <ac:chgData name="LI Jiaxue" userId="5d583a23-7452-48d2-967e-da17cb854682" providerId="ADAL" clId="{8C543BDE-AC3B-4154-8C7A-53D8F574B355}" dt="2023-02-02T17:51:10.017" v="3093"/>
          <ac:picMkLst>
            <pc:docMk/>
            <pc:sldMk cId="1610620227" sldId="487"/>
            <ac:picMk id="19" creationId="{4FD488F8-CC3D-420B-97C3-7AF1A76FE8A9}"/>
          </ac:picMkLst>
        </pc:picChg>
      </pc:sldChg>
      <pc:sldChg chg="addSp delSp modSp mod modNotes">
        <pc:chgData name="LI Jiaxue" userId="5d583a23-7452-48d2-967e-da17cb854682" providerId="ADAL" clId="{8C543BDE-AC3B-4154-8C7A-53D8F574B355}" dt="2023-02-02T17:51:10.022" v="3101"/>
        <pc:sldMkLst>
          <pc:docMk/>
          <pc:sldMk cId="497076937" sldId="488"/>
        </pc:sldMkLst>
        <pc:spChg chg="mod">
          <ac:chgData name="LI Jiaxue" userId="5d583a23-7452-48d2-967e-da17cb854682" providerId="ADAL" clId="{8C543BDE-AC3B-4154-8C7A-53D8F574B355}" dt="2023-02-02T17:51:09.820" v="2890" actId="947"/>
          <ac:spMkLst>
            <pc:docMk/>
            <pc:sldMk cId="497076937" sldId="488"/>
            <ac:spMk id="4" creationId="{C92A5F14-967B-41AA-884D-6776486AC9B8}"/>
          </ac:spMkLst>
        </pc:spChg>
        <pc:spChg chg="mod">
          <ac:chgData name="LI Jiaxue" userId="5d583a23-7452-48d2-967e-da17cb854682" providerId="ADAL" clId="{8C543BDE-AC3B-4154-8C7A-53D8F574B355}" dt="2023-02-02T16:12:04.338" v="775" actId="20577"/>
          <ac:spMkLst>
            <pc:docMk/>
            <pc:sldMk cId="497076937" sldId="488"/>
            <ac:spMk id="5" creationId="{D049E7E8-0EE6-4FC6-BC70-312C6A4CD0C2}"/>
          </ac:spMkLst>
        </pc:spChg>
        <pc:spChg chg="mod">
          <ac:chgData name="LI Jiaxue" userId="5d583a23-7452-48d2-967e-da17cb854682" providerId="ADAL" clId="{8C543BDE-AC3B-4154-8C7A-53D8F574B355}" dt="2023-02-02T16:38:51.683" v="1347" actId="20577"/>
          <ac:spMkLst>
            <pc:docMk/>
            <pc:sldMk cId="497076937" sldId="488"/>
            <ac:spMk id="11" creationId="{F6C274B2-9AF8-405B-8AC6-C23DC26F347A}"/>
          </ac:spMkLst>
        </pc:spChg>
        <pc:spChg chg="del mod">
          <ac:chgData name="LI Jiaxue" userId="5d583a23-7452-48d2-967e-da17cb854682" providerId="ADAL" clId="{8C543BDE-AC3B-4154-8C7A-53D8F574B355}" dt="2023-02-02T16:18:51.157" v="848" actId="21"/>
          <ac:spMkLst>
            <pc:docMk/>
            <pc:sldMk cId="497076937" sldId="488"/>
            <ac:spMk id="12" creationId="{8F300801-6B37-4B9E-B933-C17EDE0A99FA}"/>
          </ac:spMkLst>
        </pc:spChg>
        <pc:spChg chg="mod">
          <ac:chgData name="LI Jiaxue" userId="5d583a23-7452-48d2-967e-da17cb854682" providerId="ADAL" clId="{8C543BDE-AC3B-4154-8C7A-53D8F574B355}" dt="2023-02-02T16:19:48.664" v="853" actId="1076"/>
          <ac:spMkLst>
            <pc:docMk/>
            <pc:sldMk cId="497076937" sldId="488"/>
            <ac:spMk id="19" creationId="{03294D37-AC55-4933-93B4-FBD1155B9938}"/>
          </ac:spMkLst>
        </pc:spChg>
        <pc:picChg chg="del">
          <ac:chgData name="LI Jiaxue" userId="5d583a23-7452-48d2-967e-da17cb854682" providerId="ADAL" clId="{8C543BDE-AC3B-4154-8C7A-53D8F574B355}" dt="2023-02-02T16:19:53.026" v="1002"/>
          <ac:picMkLst>
            <pc:docMk/>
            <pc:sldMk cId="497076937" sldId="488"/>
            <ac:picMk id="8" creationId="{78D05F65-543E-43E5-870B-C50D75EBD438}"/>
          </ac:picMkLst>
        </pc:picChg>
        <pc:picChg chg="add del mod ord">
          <ac:chgData name="LI Jiaxue" userId="5d583a23-7452-48d2-967e-da17cb854682" providerId="ADAL" clId="{8C543BDE-AC3B-4154-8C7A-53D8F574B355}" dt="2023-02-02T17:16:04.134" v="2338"/>
          <ac:picMkLst>
            <pc:docMk/>
            <pc:sldMk cId="497076937" sldId="488"/>
            <ac:picMk id="14" creationId="{47DC49C0-1489-4858-80FF-1BA4006BC9A7}"/>
          </ac:picMkLst>
        </pc:picChg>
        <pc:picChg chg="add del mod ord">
          <ac:chgData name="LI Jiaxue" userId="5d583a23-7452-48d2-967e-da17cb854682" providerId="ADAL" clId="{8C543BDE-AC3B-4154-8C7A-53D8F574B355}" dt="2023-02-02T17:46:57.521" v="2625"/>
          <ac:picMkLst>
            <pc:docMk/>
            <pc:sldMk cId="497076937" sldId="488"/>
            <ac:picMk id="16" creationId="{CA4FCCB9-A3B5-4802-B1DA-7FC01D30DC1B}"/>
          </ac:picMkLst>
        </pc:picChg>
        <pc:picChg chg="add del mod ord">
          <ac:chgData name="LI Jiaxue" userId="5d583a23-7452-48d2-967e-da17cb854682" providerId="ADAL" clId="{8C543BDE-AC3B-4154-8C7A-53D8F574B355}" dt="2023-02-02T17:51:09.973" v="3039"/>
          <ac:picMkLst>
            <pc:docMk/>
            <pc:sldMk cId="497076937" sldId="488"/>
            <ac:picMk id="20" creationId="{CA9A7E04-FA68-4EB9-A617-1441513889B8}"/>
          </ac:picMkLst>
        </pc:picChg>
        <pc:picChg chg="add mod ord">
          <ac:chgData name="LI Jiaxue" userId="5d583a23-7452-48d2-967e-da17cb854682" providerId="ADAL" clId="{8C543BDE-AC3B-4154-8C7A-53D8F574B355}" dt="2023-02-02T17:51:10.022" v="3101"/>
          <ac:picMkLst>
            <pc:docMk/>
            <pc:sldMk cId="497076937" sldId="488"/>
            <ac:picMk id="22" creationId="{87453167-5693-424D-B82C-84F220D410BE}"/>
          </ac:picMkLst>
        </pc:picChg>
      </pc:sldChg>
      <pc:sldChg chg="addSp delSp modSp mod modNotes">
        <pc:chgData name="LI Jiaxue" userId="5d583a23-7452-48d2-967e-da17cb854682" providerId="ADAL" clId="{8C543BDE-AC3B-4154-8C7A-53D8F574B355}" dt="2023-02-02T17:51:10.029" v="3109"/>
        <pc:sldMkLst>
          <pc:docMk/>
          <pc:sldMk cId="2373323253" sldId="489"/>
        </pc:sldMkLst>
        <pc:spChg chg="mod">
          <ac:chgData name="LI Jiaxue" userId="5d583a23-7452-48d2-967e-da17cb854682" providerId="ADAL" clId="{8C543BDE-AC3B-4154-8C7A-53D8F574B355}" dt="2023-02-02T17:51:09.831" v="2901" actId="947"/>
          <ac:spMkLst>
            <pc:docMk/>
            <pc:sldMk cId="2373323253" sldId="489"/>
            <ac:spMk id="4" creationId="{C92A5F14-967B-41AA-884D-6776486AC9B8}"/>
          </ac:spMkLst>
        </pc:spChg>
        <pc:spChg chg="mod">
          <ac:chgData name="LI Jiaxue" userId="5d583a23-7452-48d2-967e-da17cb854682" providerId="ADAL" clId="{8C543BDE-AC3B-4154-8C7A-53D8F574B355}" dt="2023-02-02T16:27:32.571" v="1138" actId="20577"/>
          <ac:spMkLst>
            <pc:docMk/>
            <pc:sldMk cId="2373323253" sldId="489"/>
            <ac:spMk id="5" creationId="{D049E7E8-0EE6-4FC6-BC70-312C6A4CD0C2}"/>
          </ac:spMkLst>
        </pc:spChg>
        <pc:spChg chg="mod">
          <ac:chgData name="LI Jiaxue" userId="5d583a23-7452-48d2-967e-da17cb854682" providerId="ADAL" clId="{8C543BDE-AC3B-4154-8C7A-53D8F574B355}" dt="2023-02-02T17:15:23.178" v="2137" actId="1076"/>
          <ac:spMkLst>
            <pc:docMk/>
            <pc:sldMk cId="2373323253" sldId="489"/>
            <ac:spMk id="11" creationId="{F6C274B2-9AF8-405B-8AC6-C23DC26F347A}"/>
          </ac:spMkLst>
        </pc:spChg>
        <pc:spChg chg="add mod">
          <ac:chgData name="LI Jiaxue" userId="5d583a23-7452-48d2-967e-da17cb854682" providerId="ADAL" clId="{8C543BDE-AC3B-4154-8C7A-53D8F574B355}" dt="2023-02-02T17:15:23.178" v="2137" actId="1076"/>
          <ac:spMkLst>
            <pc:docMk/>
            <pc:sldMk cId="2373323253" sldId="489"/>
            <ac:spMk id="13" creationId="{10AAB0BA-FF9F-4EEC-B82A-1752275AAEA5}"/>
          </ac:spMkLst>
        </pc:spChg>
        <pc:spChg chg="add mod">
          <ac:chgData name="LI Jiaxue" userId="5d583a23-7452-48d2-967e-da17cb854682" providerId="ADAL" clId="{8C543BDE-AC3B-4154-8C7A-53D8F574B355}" dt="2023-02-02T17:08:54.476" v="2079" actId="164"/>
          <ac:spMkLst>
            <pc:docMk/>
            <pc:sldMk cId="2373323253" sldId="489"/>
            <ac:spMk id="15" creationId="{326ACCFE-29A0-42FE-90C7-05433E9AB6A1}"/>
          </ac:spMkLst>
        </pc:spChg>
        <pc:spChg chg="add mod">
          <ac:chgData name="LI Jiaxue" userId="5d583a23-7452-48d2-967e-da17cb854682" providerId="ADAL" clId="{8C543BDE-AC3B-4154-8C7A-53D8F574B355}" dt="2023-02-02T17:08:54.476" v="2079" actId="164"/>
          <ac:spMkLst>
            <pc:docMk/>
            <pc:sldMk cId="2373323253" sldId="489"/>
            <ac:spMk id="17" creationId="{17FEEA85-B7AB-43DA-9629-7F283011C91E}"/>
          </ac:spMkLst>
        </pc:spChg>
        <pc:spChg chg="add mod">
          <ac:chgData name="LI Jiaxue" userId="5d583a23-7452-48d2-967e-da17cb854682" providerId="ADAL" clId="{8C543BDE-AC3B-4154-8C7A-53D8F574B355}" dt="2023-02-02T17:13:04.536" v="2115" actId="14100"/>
          <ac:spMkLst>
            <pc:docMk/>
            <pc:sldMk cId="2373323253" sldId="489"/>
            <ac:spMk id="18" creationId="{89D83923-7C56-4ABE-8F9F-7B46D0A36ADB}"/>
          </ac:spMkLst>
        </pc:spChg>
        <pc:spChg chg="add mod">
          <ac:chgData name="LI Jiaxue" userId="5d583a23-7452-48d2-967e-da17cb854682" providerId="ADAL" clId="{8C543BDE-AC3B-4154-8C7A-53D8F574B355}" dt="2023-02-02T17:09:06.529" v="2082" actId="571"/>
          <ac:spMkLst>
            <pc:docMk/>
            <pc:sldMk cId="2373323253" sldId="489"/>
            <ac:spMk id="20" creationId="{512D0BE5-449D-467E-AD46-D11860C1727C}"/>
          </ac:spMkLst>
        </pc:spChg>
        <pc:spChg chg="add mod">
          <ac:chgData name="LI Jiaxue" userId="5d583a23-7452-48d2-967e-da17cb854682" providerId="ADAL" clId="{8C543BDE-AC3B-4154-8C7A-53D8F574B355}" dt="2023-02-02T17:09:06.529" v="2082" actId="571"/>
          <ac:spMkLst>
            <pc:docMk/>
            <pc:sldMk cId="2373323253" sldId="489"/>
            <ac:spMk id="21" creationId="{38668665-ECD3-4197-8F65-86180E818DB0}"/>
          </ac:spMkLst>
        </pc:spChg>
        <pc:spChg chg="add mod">
          <ac:chgData name="LI Jiaxue" userId="5d583a23-7452-48d2-967e-da17cb854682" providerId="ADAL" clId="{8C543BDE-AC3B-4154-8C7A-53D8F574B355}" dt="2023-02-02T17:15:05.743" v="2136" actId="113"/>
          <ac:spMkLst>
            <pc:docMk/>
            <pc:sldMk cId="2373323253" sldId="489"/>
            <ac:spMk id="22" creationId="{DC190E3E-1F7F-4AE4-B373-2D86F6063134}"/>
          </ac:spMkLst>
        </pc:spChg>
        <pc:grpChg chg="add mod">
          <ac:chgData name="LI Jiaxue" userId="5d583a23-7452-48d2-967e-da17cb854682" providerId="ADAL" clId="{8C543BDE-AC3B-4154-8C7A-53D8F574B355}" dt="2023-02-02T17:11:39.237" v="2093" actId="164"/>
          <ac:grpSpMkLst>
            <pc:docMk/>
            <pc:sldMk cId="2373323253" sldId="489"/>
            <ac:grpSpMk id="16" creationId="{90105C4F-882A-4878-8EC4-180196CEBB72}"/>
          </ac:grpSpMkLst>
        </pc:grpChg>
        <pc:grpChg chg="add mod">
          <ac:chgData name="LI Jiaxue" userId="5d583a23-7452-48d2-967e-da17cb854682" providerId="ADAL" clId="{8C543BDE-AC3B-4154-8C7A-53D8F574B355}" dt="2023-02-02T17:15:23.178" v="2137" actId="1076"/>
          <ac:grpSpMkLst>
            <pc:docMk/>
            <pc:sldMk cId="2373323253" sldId="489"/>
            <ac:grpSpMk id="23" creationId="{C54ED02F-B528-4367-A204-505BC221293F}"/>
          </ac:grpSpMkLst>
        </pc:grpChg>
        <pc:picChg chg="del">
          <ac:chgData name="LI Jiaxue" userId="5d583a23-7452-48d2-967e-da17cb854682" providerId="ADAL" clId="{8C543BDE-AC3B-4154-8C7A-53D8F574B355}" dt="2023-02-02T16:19:53.028" v="1004"/>
          <ac:picMkLst>
            <pc:docMk/>
            <pc:sldMk cId="2373323253" sldId="489"/>
            <ac:picMk id="9" creationId="{A0064CF2-208A-4E46-A4F7-EF9F048B8A21}"/>
          </ac:picMkLst>
        </pc:picChg>
        <pc:picChg chg="add del mod ord">
          <ac:chgData name="LI Jiaxue" userId="5d583a23-7452-48d2-967e-da17cb854682" providerId="ADAL" clId="{8C543BDE-AC3B-4154-8C7A-53D8F574B355}" dt="2023-02-02T17:16:04.135" v="2340"/>
          <ac:picMkLst>
            <pc:docMk/>
            <pc:sldMk cId="2373323253" sldId="489"/>
            <ac:picMk id="14" creationId="{4077531C-C539-45F5-B2E1-0E34AA471543}"/>
          </ac:picMkLst>
        </pc:picChg>
        <pc:picChg chg="add del mod ord">
          <ac:chgData name="LI Jiaxue" userId="5d583a23-7452-48d2-967e-da17cb854682" providerId="ADAL" clId="{8C543BDE-AC3B-4154-8C7A-53D8F574B355}" dt="2023-02-02T17:46:57.522" v="2627"/>
          <ac:picMkLst>
            <pc:docMk/>
            <pc:sldMk cId="2373323253" sldId="489"/>
            <ac:picMk id="25" creationId="{1FB48D64-C726-4ADC-8B4B-5DAD52210000}"/>
          </ac:picMkLst>
        </pc:picChg>
        <pc:picChg chg="add del mod ord">
          <ac:chgData name="LI Jiaxue" userId="5d583a23-7452-48d2-967e-da17cb854682" providerId="ADAL" clId="{8C543BDE-AC3B-4154-8C7A-53D8F574B355}" dt="2023-02-02T17:51:09.974" v="3041"/>
          <ac:picMkLst>
            <pc:docMk/>
            <pc:sldMk cId="2373323253" sldId="489"/>
            <ac:picMk id="27" creationId="{B273567B-A9AE-4548-90A9-3CC9F7FC262D}"/>
          </ac:picMkLst>
        </pc:picChg>
        <pc:picChg chg="add mod ord">
          <ac:chgData name="LI Jiaxue" userId="5d583a23-7452-48d2-967e-da17cb854682" providerId="ADAL" clId="{8C543BDE-AC3B-4154-8C7A-53D8F574B355}" dt="2023-02-02T17:51:10.029" v="3109"/>
          <ac:picMkLst>
            <pc:docMk/>
            <pc:sldMk cId="2373323253" sldId="489"/>
            <ac:picMk id="29" creationId="{3322C133-A472-4FCC-958B-F0921A2166C2}"/>
          </ac:picMkLst>
        </pc:picChg>
      </pc:sldChg>
      <pc:sldChg chg="addSp delSp modSp add mod modNotes">
        <pc:chgData name="LI Jiaxue" userId="5d583a23-7452-48d2-967e-da17cb854682" providerId="ADAL" clId="{8C543BDE-AC3B-4154-8C7A-53D8F574B355}" dt="2023-02-02T17:51:10.035" v="3117"/>
        <pc:sldMkLst>
          <pc:docMk/>
          <pc:sldMk cId="470083390" sldId="490"/>
        </pc:sldMkLst>
        <pc:spChg chg="mod">
          <ac:chgData name="LI Jiaxue" userId="5d583a23-7452-48d2-967e-da17cb854682" providerId="ADAL" clId="{8C543BDE-AC3B-4154-8C7A-53D8F574B355}" dt="2023-02-02T17:51:09.843" v="2912" actId="947"/>
          <ac:spMkLst>
            <pc:docMk/>
            <pc:sldMk cId="470083390" sldId="490"/>
            <ac:spMk id="4" creationId="{C92A5F14-967B-41AA-884D-6776486AC9B8}"/>
          </ac:spMkLst>
        </pc:spChg>
        <pc:spChg chg="mod">
          <ac:chgData name="LI Jiaxue" userId="5d583a23-7452-48d2-967e-da17cb854682" providerId="ADAL" clId="{8C543BDE-AC3B-4154-8C7A-53D8F574B355}" dt="2023-02-02T16:27:36.264" v="1140" actId="20577"/>
          <ac:spMkLst>
            <pc:docMk/>
            <pc:sldMk cId="470083390" sldId="490"/>
            <ac:spMk id="5" creationId="{D049E7E8-0EE6-4FC6-BC70-312C6A4CD0C2}"/>
          </ac:spMkLst>
        </pc:spChg>
        <pc:spChg chg="mod">
          <ac:chgData name="LI Jiaxue" userId="5d583a23-7452-48d2-967e-da17cb854682" providerId="ADAL" clId="{8C543BDE-AC3B-4154-8C7A-53D8F574B355}" dt="2023-02-02T17:45:41.780" v="2422" actId="20577"/>
          <ac:spMkLst>
            <pc:docMk/>
            <pc:sldMk cId="470083390" sldId="490"/>
            <ac:spMk id="11" creationId="{F6C274B2-9AF8-405B-8AC6-C23DC26F347A}"/>
          </ac:spMkLst>
        </pc:spChg>
        <pc:spChg chg="del">
          <ac:chgData name="LI Jiaxue" userId="5d583a23-7452-48d2-967e-da17cb854682" providerId="ADAL" clId="{8C543BDE-AC3B-4154-8C7A-53D8F574B355}" dt="2023-02-02T16:24:20.325" v="1127" actId="478"/>
          <ac:spMkLst>
            <pc:docMk/>
            <pc:sldMk cId="470083390" sldId="490"/>
            <ac:spMk id="13" creationId="{10AAB0BA-FF9F-4EEC-B82A-1752275AAEA5}"/>
          </ac:spMkLst>
        </pc:spChg>
        <pc:picChg chg="add del mod ord">
          <ac:chgData name="LI Jiaxue" userId="5d583a23-7452-48d2-967e-da17cb854682" providerId="ADAL" clId="{8C543BDE-AC3B-4154-8C7A-53D8F574B355}" dt="2023-02-02T17:16:04.136" v="2342"/>
          <ac:picMkLst>
            <pc:docMk/>
            <pc:sldMk cId="470083390" sldId="490"/>
            <ac:picMk id="6" creationId="{7F1687FB-ED1F-42F8-99D7-B1548BBD0445}"/>
          </ac:picMkLst>
        </pc:picChg>
        <pc:picChg chg="add del mod">
          <ac:chgData name="LI Jiaxue" userId="5d583a23-7452-48d2-967e-da17cb854682" providerId="ADAL" clId="{8C543BDE-AC3B-4154-8C7A-53D8F574B355}" dt="2023-02-02T17:09:49.999" v="2085" actId="478"/>
          <ac:picMkLst>
            <pc:docMk/>
            <pc:sldMk cId="470083390" sldId="490"/>
            <ac:picMk id="8" creationId="{7D61DD95-DB4D-4DFC-8E35-C6D836D67229}"/>
          </ac:picMkLst>
        </pc:picChg>
        <pc:picChg chg="add del mod ord">
          <ac:chgData name="LI Jiaxue" userId="5d583a23-7452-48d2-967e-da17cb854682" providerId="ADAL" clId="{8C543BDE-AC3B-4154-8C7A-53D8F574B355}" dt="2023-02-02T17:46:57.522" v="2629"/>
          <ac:picMkLst>
            <pc:docMk/>
            <pc:sldMk cId="470083390" sldId="490"/>
            <ac:picMk id="10" creationId="{6A1D8F33-87D5-49E1-A51D-55902AA43BAE}"/>
          </ac:picMkLst>
        </pc:picChg>
        <pc:picChg chg="del">
          <ac:chgData name="LI Jiaxue" userId="5d583a23-7452-48d2-967e-da17cb854682" providerId="ADAL" clId="{8C543BDE-AC3B-4154-8C7A-53D8F574B355}" dt="2023-02-02T16:24:14.288" v="1118"/>
          <ac:picMkLst>
            <pc:docMk/>
            <pc:sldMk cId="470083390" sldId="490"/>
            <ac:picMk id="14" creationId="{4077531C-C539-45F5-B2E1-0E34AA471543}"/>
          </ac:picMkLst>
        </pc:picChg>
        <pc:picChg chg="add mod">
          <ac:chgData name="LI Jiaxue" userId="5d583a23-7452-48d2-967e-da17cb854682" providerId="ADAL" clId="{8C543BDE-AC3B-4154-8C7A-53D8F574B355}" dt="2023-02-02T17:45:24.251" v="2407" actId="1076"/>
          <ac:picMkLst>
            <pc:docMk/>
            <pc:sldMk cId="470083390" sldId="490"/>
            <ac:picMk id="15" creationId="{37AC0A36-FBBB-4CAE-B1BD-1735DE17DB00}"/>
          </ac:picMkLst>
        </pc:picChg>
        <pc:picChg chg="add del mod ord">
          <ac:chgData name="LI Jiaxue" userId="5d583a23-7452-48d2-967e-da17cb854682" providerId="ADAL" clId="{8C543BDE-AC3B-4154-8C7A-53D8F574B355}" dt="2023-02-02T17:51:09.975" v="3043"/>
          <ac:picMkLst>
            <pc:docMk/>
            <pc:sldMk cId="470083390" sldId="490"/>
            <ac:picMk id="17" creationId="{F859B24E-CB8B-4365-8852-ADAFB0E6CD2B}"/>
          </ac:picMkLst>
        </pc:picChg>
        <pc:picChg chg="add mod ord">
          <ac:chgData name="LI Jiaxue" userId="5d583a23-7452-48d2-967e-da17cb854682" providerId="ADAL" clId="{8C543BDE-AC3B-4154-8C7A-53D8F574B355}" dt="2023-02-02T17:51:10.035" v="3117"/>
          <ac:picMkLst>
            <pc:docMk/>
            <pc:sldMk cId="470083390" sldId="490"/>
            <ac:picMk id="19" creationId="{E2AB852D-076B-457E-AF22-64B6507F46E7}"/>
          </ac:picMkLst>
        </pc:picChg>
      </pc:sldChg>
      <pc:sldChg chg="addSp delSp modSp add mod modNotes">
        <pc:chgData name="LI Jiaxue" userId="5d583a23-7452-48d2-967e-da17cb854682" providerId="ADAL" clId="{8C543BDE-AC3B-4154-8C7A-53D8F574B355}" dt="2023-02-02T17:51:10.042" v="3125"/>
        <pc:sldMkLst>
          <pc:docMk/>
          <pc:sldMk cId="3538564843" sldId="491"/>
        </pc:sldMkLst>
        <pc:spChg chg="mod">
          <ac:chgData name="LI Jiaxue" userId="5d583a23-7452-48d2-967e-da17cb854682" providerId="ADAL" clId="{8C543BDE-AC3B-4154-8C7A-53D8F574B355}" dt="2023-02-02T17:51:09.854" v="2923" actId="947"/>
          <ac:spMkLst>
            <pc:docMk/>
            <pc:sldMk cId="3538564843" sldId="491"/>
            <ac:spMk id="4" creationId="{C92A5F14-967B-41AA-884D-6776486AC9B8}"/>
          </ac:spMkLst>
        </pc:spChg>
        <pc:picChg chg="add del mod ord">
          <ac:chgData name="LI Jiaxue" userId="5d583a23-7452-48d2-967e-da17cb854682" providerId="ADAL" clId="{8C543BDE-AC3B-4154-8C7A-53D8F574B355}" dt="2023-02-02T17:46:57.523" v="2631"/>
          <ac:picMkLst>
            <pc:docMk/>
            <pc:sldMk cId="3538564843" sldId="491"/>
            <ac:picMk id="6" creationId="{52BCAA11-0BDB-49B8-81B7-1868F4B7710C}"/>
          </ac:picMkLst>
        </pc:picChg>
        <pc:picChg chg="add del mod ord">
          <ac:chgData name="LI Jiaxue" userId="5d583a23-7452-48d2-967e-da17cb854682" providerId="ADAL" clId="{8C543BDE-AC3B-4154-8C7A-53D8F574B355}" dt="2023-02-02T17:51:09.975" v="3045"/>
          <ac:picMkLst>
            <pc:docMk/>
            <pc:sldMk cId="3538564843" sldId="491"/>
            <ac:picMk id="8" creationId="{FBF87211-6064-42FE-820D-DA6649248328}"/>
          </ac:picMkLst>
        </pc:picChg>
        <pc:picChg chg="del">
          <ac:chgData name="LI Jiaxue" userId="5d583a23-7452-48d2-967e-da17cb854682" providerId="ADAL" clId="{8C543BDE-AC3B-4154-8C7A-53D8F574B355}" dt="2023-02-02T17:45:48.754" v="2425"/>
          <ac:picMkLst>
            <pc:docMk/>
            <pc:sldMk cId="3538564843" sldId="491"/>
            <ac:picMk id="10" creationId="{6A1D8F33-87D5-49E1-A51D-55902AA43BAE}"/>
          </ac:picMkLst>
        </pc:picChg>
        <pc:picChg chg="add mod ord">
          <ac:chgData name="LI Jiaxue" userId="5d583a23-7452-48d2-967e-da17cb854682" providerId="ADAL" clId="{8C543BDE-AC3B-4154-8C7A-53D8F574B355}" dt="2023-02-02T17:51:10.042" v="3125"/>
          <ac:picMkLst>
            <pc:docMk/>
            <pc:sldMk cId="3538564843" sldId="491"/>
            <ac:picMk id="12" creationId="{123B52A1-0C8E-4385-A273-01FEA3333650}"/>
          </ac:picMkLst>
        </pc:picChg>
        <pc:picChg chg="mod">
          <ac:chgData name="LI Jiaxue" userId="5d583a23-7452-48d2-967e-da17cb854682" providerId="ADAL" clId="{8C543BDE-AC3B-4154-8C7A-53D8F574B355}" dt="2023-02-02T17:46:44.681" v="2434" actId="14826"/>
          <ac:picMkLst>
            <pc:docMk/>
            <pc:sldMk cId="3538564843" sldId="491"/>
            <ac:picMk id="15" creationId="{37AC0A36-FBBB-4CAE-B1BD-1735DE17DB00}"/>
          </ac:picMkLst>
        </pc:picChg>
      </pc:sldChg>
      <pc:sldChg chg="addSp delSp modSp add mod modNotes">
        <pc:chgData name="LI Jiaxue" userId="5d583a23-7452-48d2-967e-da17cb854682" providerId="ADAL" clId="{8C543BDE-AC3B-4154-8C7A-53D8F574B355}" dt="2023-02-02T17:51:10.010" v="3085"/>
        <pc:sldMkLst>
          <pc:docMk/>
          <pc:sldMk cId="1218533581" sldId="2145706724"/>
        </pc:sldMkLst>
        <pc:spChg chg="mod">
          <ac:chgData name="LI Jiaxue" userId="5d583a23-7452-48d2-967e-da17cb854682" providerId="ADAL" clId="{8C543BDE-AC3B-4154-8C7A-53D8F574B355}" dt="2023-02-02T17:51:09.796" v="2868" actId="947"/>
          <ac:spMkLst>
            <pc:docMk/>
            <pc:sldMk cId="1218533581" sldId="2145706724"/>
            <ac:spMk id="4" creationId="{857A672D-820B-4D2D-BDDD-F9AD7EFD8B09}"/>
          </ac:spMkLst>
        </pc:spChg>
        <pc:picChg chg="add del mod ord">
          <ac:chgData name="LI Jiaxue" userId="5d583a23-7452-48d2-967e-da17cb854682" providerId="ADAL" clId="{8C543BDE-AC3B-4154-8C7A-53D8F574B355}" dt="2023-02-02T17:51:09.972" v="3035"/>
          <ac:picMkLst>
            <pc:docMk/>
            <pc:sldMk cId="1218533581" sldId="2145706724"/>
            <ac:picMk id="7" creationId="{C638E23B-7872-40C6-9CAD-8312BF464363}"/>
          </ac:picMkLst>
        </pc:picChg>
        <pc:picChg chg="add mod ord">
          <ac:chgData name="LI Jiaxue" userId="5d583a23-7452-48d2-967e-da17cb854682" providerId="ADAL" clId="{8C543BDE-AC3B-4154-8C7A-53D8F574B355}" dt="2023-02-02T17:51:10.010" v="3085"/>
          <ac:picMkLst>
            <pc:docMk/>
            <pc:sldMk cId="1218533581" sldId="2145706724"/>
            <ac:picMk id="9" creationId="{D830920E-A428-4319-B141-8B084A64E3A4}"/>
          </ac:picMkLst>
        </pc:picChg>
      </pc:sldChg>
      <pc:sldChg chg="addSp delSp modSp add mod ord modNotes">
        <pc:chgData name="LI Jiaxue" userId="5d583a23-7452-48d2-967e-da17cb854682" providerId="ADAL" clId="{8C543BDE-AC3B-4154-8C7A-53D8F574B355}" dt="2023-02-02T17:51:10.004" v="3077"/>
        <pc:sldMkLst>
          <pc:docMk/>
          <pc:sldMk cId="3965134883" sldId="2145706725"/>
        </pc:sldMkLst>
        <pc:spChg chg="mod">
          <ac:chgData name="LI Jiaxue" userId="5d583a23-7452-48d2-967e-da17cb854682" providerId="ADAL" clId="{8C543BDE-AC3B-4154-8C7A-53D8F574B355}" dt="2023-02-02T17:51:09.785" v="2857" actId="947"/>
          <ac:spMkLst>
            <pc:docMk/>
            <pc:sldMk cId="3965134883" sldId="2145706725"/>
            <ac:spMk id="4" creationId="{857A672D-820B-4D2D-BDDD-F9AD7EFD8B09}"/>
          </ac:spMkLst>
        </pc:spChg>
        <pc:picChg chg="add del mod ord">
          <ac:chgData name="LI Jiaxue" userId="5d583a23-7452-48d2-967e-da17cb854682" providerId="ADAL" clId="{8C543BDE-AC3B-4154-8C7A-53D8F574B355}" dt="2023-02-02T17:51:09.971" v="3033"/>
          <ac:picMkLst>
            <pc:docMk/>
            <pc:sldMk cId="3965134883" sldId="2145706725"/>
            <ac:picMk id="7" creationId="{79D92E65-728B-4289-A0AD-646DC686EAE9}"/>
          </ac:picMkLst>
        </pc:picChg>
        <pc:picChg chg="add mod ord">
          <ac:chgData name="LI Jiaxue" userId="5d583a23-7452-48d2-967e-da17cb854682" providerId="ADAL" clId="{8C543BDE-AC3B-4154-8C7A-53D8F574B355}" dt="2023-02-02T17:51:10.004" v="3077"/>
          <ac:picMkLst>
            <pc:docMk/>
            <pc:sldMk cId="3965134883" sldId="2145706725"/>
            <ac:picMk id="9" creationId="{A0EFA859-0CC5-4F17-B14D-5595A1BEF705}"/>
          </ac:picMkLst>
        </pc:picChg>
      </pc:sldChg>
      <pc:sldMasterChg chg="modSldLayout">
        <pc:chgData name="LI Jiaxue" userId="5d583a23-7452-48d2-967e-da17cb854682" providerId="ADAL" clId="{8C543BDE-AC3B-4154-8C7A-53D8F574B355}" dt="2023-02-02T17:51:09.726" v="2810"/>
        <pc:sldMasterMkLst>
          <pc:docMk/>
          <pc:sldMasterMk cId="721181331" sldId="2147483661"/>
        </pc:sldMasterMkLst>
        <pc:sldLayoutChg chg="modSp mod">
          <pc:chgData name="LI Jiaxue" userId="5d583a23-7452-48d2-967e-da17cb854682" providerId="ADAL" clId="{8C543BDE-AC3B-4154-8C7A-53D8F574B355}" dt="2023-02-02T17:51:09.726" v="2810"/>
          <pc:sldLayoutMkLst>
            <pc:docMk/>
            <pc:sldMasterMk cId="721181331" sldId="2147483661"/>
            <pc:sldLayoutMk cId="3502951835" sldId="2147483665"/>
          </pc:sldLayoutMkLst>
          <pc:spChg chg="mod">
            <ac:chgData name="LI Jiaxue" userId="5d583a23-7452-48d2-967e-da17cb854682" providerId="ADAL" clId="{8C543BDE-AC3B-4154-8C7A-53D8F574B355}" dt="2023-02-02T17:51:09.726" v="2810"/>
            <ac:spMkLst>
              <pc:docMk/>
              <pc:sldMasterMk cId="721181331" sldId="2147483661"/>
              <pc:sldLayoutMk cId="3502951835" sldId="2147483665"/>
              <ac:spMk id="5" creationId="{00000000-0000-0000-0000-000000000000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5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EA2C332-6A23-4E7A-A00B-220731EA8E7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64BDF3-5FD7-43A7-B161-3E70457D964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095FB5-120A-4EE3-85CF-7CC52D8D7F6A}" type="datetimeFigureOut">
              <a:rPr lang="fr-FR" smtClean="0"/>
              <a:t>02/02/2023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51A606-EE3E-4271-9665-0F810135FD0E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685213"/>
            <a:ext cx="68580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fr-FR" sz="200">
                <a:solidFill>
                  <a:srgbClr val="FFFFFF"/>
                </a:solidFill>
                <a:latin typeface="Arial" panose="020B0604020202020204" pitchFamily="34" charset="0"/>
              </a:rPr>
              <a:t>5acXjzU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AC794F-A29A-4221-B476-C9B94F9955D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F7D163-2137-4B06-8E88-B12BC417F9F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9829903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4.xml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0B505A-9D9D-41A7-93E3-6FE2A709594D}" type="datetimeFigureOut">
              <a:rPr lang="fr-FR" smtClean="0"/>
              <a:t>02/02/2023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685213"/>
            <a:ext cx="68580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fr-FR" sz="200" b="0" i="0" u="none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/>
              <a:t>5acXjzUk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092C76-B76E-4CD2-B10B-5B45767E90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8687564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7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0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3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0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2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4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slide" Target="../slides/slide7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7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slide" Target="../slides/slide8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9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slide" Target="../slides/slide9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5acXjzUk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44CDB3-3F3C-4288-BD56-7CC05CBC71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77466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FR"/>
              <a:t>5acXjzUk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92C76-B76E-4CD2-B10B-5B45767E9074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68352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93136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FR"/>
              <a:t>5acXjzUk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92C76-B76E-4CD2-B10B-5B45767E9074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28014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s-ES"/>
              <a:t>5acXjzUk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007186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s-ES"/>
              <a:t>5acXjzUk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988790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90459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FR"/>
              <a:t>5acXjzUk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92C76-B76E-4CD2-B10B-5B45767E9074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83797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FR"/>
              <a:t>5acXjzUk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92C76-B76E-4CD2-B10B-5B45767E9074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382919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FR"/>
              <a:t>5acXjzUk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92C76-B76E-4CD2-B10B-5B45767E9074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579232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rgbClr val="D422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rgbClr val="213D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13" name="Picture 1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00" y="381000"/>
            <a:ext cx="6810518" cy="6293126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rgbClr val="183C8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70121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grey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9">
            <a:extLst>
              <a:ext uri="{FF2B5EF4-FFF2-40B4-BE49-F238E27FC236}">
                <a16:creationId xmlns:a16="http://schemas.microsoft.com/office/drawing/2014/main" id="{7D7B5769-BB03-4A7D-8204-C2C64A874215}"/>
              </a:ext>
            </a:extLst>
          </p:cNvPr>
          <p:cNvSpPr/>
          <p:nvPr/>
        </p:nvSpPr>
        <p:spPr>
          <a:xfrm>
            <a:off x="292608" y="-35450"/>
            <a:ext cx="11899391" cy="6070490"/>
          </a:xfrm>
          <a:custGeom>
            <a:avLst/>
            <a:gdLst>
              <a:gd name="connsiteX0" fmla="*/ 1164 w 11117397"/>
              <a:gd name="connsiteY0" fmla="*/ 1982 h 5651013"/>
              <a:gd name="connsiteX1" fmla="*/ 1164 w 11117397"/>
              <a:gd name="connsiteY1" fmla="*/ 4099923 h 5651013"/>
              <a:gd name="connsiteX2" fmla="*/ 390557 w 11117397"/>
              <a:gd name="connsiteY2" fmla="*/ 5082545 h 5651013"/>
              <a:gd name="connsiteX3" fmla="*/ 934037 w 11117397"/>
              <a:gd name="connsiteY3" fmla="*/ 5234297 h 5651013"/>
              <a:gd name="connsiteX4" fmla="*/ 2701871 w 11117397"/>
              <a:gd name="connsiteY4" fmla="*/ 5351554 h 5651013"/>
              <a:gd name="connsiteX5" fmla="*/ 11118562 w 11117397"/>
              <a:gd name="connsiteY5" fmla="*/ 5652995 h 5651013"/>
              <a:gd name="connsiteX6" fmla="*/ 11118562 w 11117397"/>
              <a:gd name="connsiteY6" fmla="*/ 1982 h 5651013"/>
              <a:gd name="connsiteX7" fmla="*/ 1164 w 11117397"/>
              <a:gd name="connsiteY7" fmla="*/ 1982 h 5651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117397" h="5651013">
                <a:moveTo>
                  <a:pt x="1164" y="1982"/>
                </a:moveTo>
                <a:lnTo>
                  <a:pt x="1164" y="4099923"/>
                </a:lnTo>
                <a:cubicBezTo>
                  <a:pt x="1164" y="4539682"/>
                  <a:pt x="79426" y="4887436"/>
                  <a:pt x="390557" y="5082545"/>
                </a:cubicBezTo>
                <a:cubicBezTo>
                  <a:pt x="522759" y="5165447"/>
                  <a:pt x="703439" y="5212446"/>
                  <a:pt x="934037" y="5234297"/>
                </a:cubicBezTo>
                <a:cubicBezTo>
                  <a:pt x="1031130" y="5243503"/>
                  <a:pt x="2124481" y="5323107"/>
                  <a:pt x="2701871" y="5351554"/>
                </a:cubicBezTo>
                <a:cubicBezTo>
                  <a:pt x="3234977" y="5377836"/>
                  <a:pt x="10054207" y="5617059"/>
                  <a:pt x="11118562" y="5652995"/>
                </a:cubicBezTo>
                <a:lnTo>
                  <a:pt x="11118562" y="1982"/>
                </a:lnTo>
                <a:lnTo>
                  <a:pt x="1164" y="1982"/>
                </a:lnTo>
                <a:close/>
              </a:path>
            </a:pathLst>
          </a:custGeom>
          <a:solidFill>
            <a:srgbClr val="AFABAB">
              <a:alpha val="44706"/>
            </a:srgbClr>
          </a:solidFill>
          <a:ln w="34346" cap="flat">
            <a:noFill/>
            <a:prstDash val="solid"/>
            <a:round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DD4B6B8-325A-43EA-9662-04132CAE968A}"/>
              </a:ext>
            </a:extLst>
          </p:cNvPr>
          <p:cNvSpPr/>
          <p:nvPr userDrawn="1"/>
        </p:nvSpPr>
        <p:spPr>
          <a:xfrm rot="177733">
            <a:off x="2667879" y="-200193"/>
            <a:ext cx="7721211" cy="6066862"/>
          </a:xfrm>
          <a:custGeom>
            <a:avLst/>
            <a:gdLst>
              <a:gd name="connsiteX0" fmla="*/ 0 w 7553580"/>
              <a:gd name="connsiteY0" fmla="*/ 387905 h 6066862"/>
              <a:gd name="connsiteX1" fmla="*/ 7496257 w 7553580"/>
              <a:gd name="connsiteY1" fmla="*/ 0 h 6066862"/>
              <a:gd name="connsiteX2" fmla="*/ 7553580 w 7553580"/>
              <a:gd name="connsiteY2" fmla="*/ 1097525 h 6066862"/>
              <a:gd name="connsiteX3" fmla="*/ 1782224 w 7553580"/>
              <a:gd name="connsiteY3" fmla="*/ 1393029 h 6066862"/>
              <a:gd name="connsiteX4" fmla="*/ 2432046 w 7553580"/>
              <a:gd name="connsiteY4" fmla="*/ 1816646 h 6066862"/>
              <a:gd name="connsiteX5" fmla="*/ 5666019 w 7553580"/>
              <a:gd name="connsiteY5" fmla="*/ 1945626 h 6066862"/>
              <a:gd name="connsiteX6" fmla="*/ 5793649 w 7553580"/>
              <a:gd name="connsiteY6" fmla="*/ 4346802 h 6066862"/>
              <a:gd name="connsiteX7" fmla="*/ 2736200 w 7553580"/>
              <a:gd name="connsiteY7" fmla="*/ 4785512 h 6066862"/>
              <a:gd name="connsiteX8" fmla="*/ 1985883 w 7553580"/>
              <a:gd name="connsiteY8" fmla="*/ 5289045 h 6066862"/>
              <a:gd name="connsiteX9" fmla="*/ 2026551 w 7553580"/>
              <a:gd name="connsiteY9" fmla="*/ 6066862 h 6066862"/>
              <a:gd name="connsiteX10" fmla="*/ 284038 w 7553580"/>
              <a:gd name="connsiteY10" fmla="*/ 6066862 h 6066862"/>
              <a:gd name="connsiteX11" fmla="*/ 225507 w 7553580"/>
              <a:gd name="connsiteY11" fmla="*/ 4918806 h 6066862"/>
              <a:gd name="connsiteX12" fmla="*/ 829079 w 7553580"/>
              <a:gd name="connsiteY12" fmla="*/ 3826506 h 6066862"/>
              <a:gd name="connsiteX13" fmla="*/ 4874995 w 7553580"/>
              <a:gd name="connsiteY13" fmla="*/ 3349030 h 6066862"/>
              <a:gd name="connsiteX14" fmla="*/ 4859533 w 7553580"/>
              <a:gd name="connsiteY14" fmla="*/ 3099378 h 6066862"/>
              <a:gd name="connsiteX15" fmla="*/ 818989 w 7553580"/>
              <a:gd name="connsiteY15" fmla="*/ 3071672 h 6066862"/>
              <a:gd name="connsiteX16" fmla="*/ 85891 w 7553580"/>
              <a:gd name="connsiteY16" fmla="*/ 2032486 h 6066862"/>
              <a:gd name="connsiteX17" fmla="*/ 291 w 7553580"/>
              <a:gd name="connsiteY17" fmla="*/ 394788 h 6066862"/>
              <a:gd name="connsiteX18" fmla="*/ 0 w 7553580"/>
              <a:gd name="connsiteY18" fmla="*/ 387905 h 6066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553580" h="6066862">
                <a:moveTo>
                  <a:pt x="0" y="387905"/>
                </a:moveTo>
                <a:lnTo>
                  <a:pt x="7496257" y="0"/>
                </a:lnTo>
                <a:lnTo>
                  <a:pt x="7553580" y="1097525"/>
                </a:lnTo>
                <a:lnTo>
                  <a:pt x="1782224" y="1393029"/>
                </a:lnTo>
                <a:cubicBezTo>
                  <a:pt x="1798470" y="1704559"/>
                  <a:pt x="1756472" y="1791274"/>
                  <a:pt x="2432046" y="1816646"/>
                </a:cubicBezTo>
                <a:cubicBezTo>
                  <a:pt x="2950691" y="1836116"/>
                  <a:pt x="4622849" y="1892905"/>
                  <a:pt x="5666019" y="1945626"/>
                </a:cubicBezTo>
                <a:cubicBezTo>
                  <a:pt x="6967071" y="2011367"/>
                  <a:pt x="7080131" y="4146391"/>
                  <a:pt x="5793649" y="4346802"/>
                </a:cubicBezTo>
                <a:cubicBezTo>
                  <a:pt x="4762163" y="4507423"/>
                  <a:pt x="3182669" y="4716764"/>
                  <a:pt x="2736200" y="4785512"/>
                </a:cubicBezTo>
                <a:cubicBezTo>
                  <a:pt x="2289733" y="4854299"/>
                  <a:pt x="1970317" y="4991252"/>
                  <a:pt x="1985883" y="5289045"/>
                </a:cubicBezTo>
                <a:lnTo>
                  <a:pt x="2026551" y="6066862"/>
                </a:lnTo>
                <a:lnTo>
                  <a:pt x="284038" y="6066862"/>
                </a:lnTo>
                <a:lnTo>
                  <a:pt x="225507" y="4918806"/>
                </a:lnTo>
                <a:cubicBezTo>
                  <a:pt x="203181" y="4473871"/>
                  <a:pt x="269130" y="3948677"/>
                  <a:pt x="829079" y="3826506"/>
                </a:cubicBezTo>
                <a:cubicBezTo>
                  <a:pt x="1389025" y="3704288"/>
                  <a:pt x="4874995" y="3349030"/>
                  <a:pt x="4874995" y="3349030"/>
                </a:cubicBezTo>
                <a:cubicBezTo>
                  <a:pt x="4976219" y="3290705"/>
                  <a:pt x="4967204" y="3145107"/>
                  <a:pt x="4859533" y="3099378"/>
                </a:cubicBezTo>
                <a:cubicBezTo>
                  <a:pt x="4859533" y="3099378"/>
                  <a:pt x="1450639" y="3136162"/>
                  <a:pt x="818989" y="3071672"/>
                </a:cubicBezTo>
                <a:cubicBezTo>
                  <a:pt x="187365" y="3007144"/>
                  <a:pt x="108602" y="2487296"/>
                  <a:pt x="85891" y="2032486"/>
                </a:cubicBezTo>
                <a:lnTo>
                  <a:pt x="291" y="394788"/>
                </a:lnTo>
                <a:cubicBezTo>
                  <a:pt x="176" y="392488"/>
                  <a:pt x="81" y="390191"/>
                  <a:pt x="0" y="387905"/>
                </a:cubicBezTo>
                <a:close/>
              </a:path>
            </a:pathLst>
          </a:custGeom>
          <a:solidFill>
            <a:srgbClr val="D0CECE"/>
          </a:solidFill>
          <a:ln w="32325" cap="flat">
            <a:noFill/>
            <a:prstDash val="solid"/>
            <a:round/>
          </a:ln>
        </p:spPr>
        <p:txBody>
          <a:bodyPr wrap="square" rtlCol="0" anchor="ctr"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5028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E208804-50BA-48FB-95FB-7F4192FA5AF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48342" y="326572"/>
            <a:ext cx="11495316" cy="569322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991597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Picture Placeholder 69">
            <a:extLst>
              <a:ext uri="{FF2B5EF4-FFF2-40B4-BE49-F238E27FC236}">
                <a16:creationId xmlns:a16="http://schemas.microsoft.com/office/drawing/2014/main" id="{174E5DA8-AB87-434B-9361-42C2E57017A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19395" y="0"/>
            <a:ext cx="5868971" cy="6017970"/>
          </a:xfrm>
          <a:custGeom>
            <a:avLst/>
            <a:gdLst>
              <a:gd name="connsiteX0" fmla="*/ 0 w 5868971"/>
              <a:gd name="connsiteY0" fmla="*/ 0 h 6017970"/>
              <a:gd name="connsiteX1" fmla="*/ 5868971 w 5868971"/>
              <a:gd name="connsiteY1" fmla="*/ 0 h 6017970"/>
              <a:gd name="connsiteX2" fmla="*/ 5868971 w 5868971"/>
              <a:gd name="connsiteY2" fmla="*/ 6017970 h 6017970"/>
              <a:gd name="connsiteX3" fmla="*/ 1623644 w 5868971"/>
              <a:gd name="connsiteY3" fmla="*/ 5879596 h 6017970"/>
              <a:gd name="connsiteX4" fmla="*/ 0 w 5868971"/>
              <a:gd name="connsiteY4" fmla="*/ 4368679 h 6017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68971" h="6017970">
                <a:moveTo>
                  <a:pt x="0" y="0"/>
                </a:moveTo>
                <a:lnTo>
                  <a:pt x="5868971" y="0"/>
                </a:lnTo>
                <a:lnTo>
                  <a:pt x="5868971" y="6017970"/>
                </a:lnTo>
                <a:cubicBezTo>
                  <a:pt x="3877564" y="5939968"/>
                  <a:pt x="2161959" y="5879596"/>
                  <a:pt x="1623644" y="5879596"/>
                </a:cubicBezTo>
                <a:cubicBezTo>
                  <a:pt x="202164" y="5879596"/>
                  <a:pt x="0" y="5317806"/>
                  <a:pt x="0" y="4368679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Picture </a:t>
            </a:r>
            <a:endParaRPr lang="en-US" dirty="0"/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EF85321A-E7F1-406B-AD08-2DFA1EF6D2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0"/>
            <a:ext cx="5400000" cy="900000"/>
          </a:xfrm>
        </p:spPr>
        <p:txBody>
          <a:bodyPr vert="horz" wrap="square" lIns="0" tIns="72000" rIns="0" bIns="72000" rtlCol="0" anchor="b" anchorCtr="0">
            <a:norm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page tit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4F82FAA-AD68-426F-9D8D-435F8AB72AE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96000" y="1620000"/>
            <a:ext cx="5400000" cy="1561178"/>
          </a:xfrm>
        </p:spPr>
        <p:txBody>
          <a:bodyPr vert="horz" lIns="0" tIns="72000" rIns="0" bIns="72000" rtlCol="0">
            <a:sp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A242AFD-C9DD-4581-85A2-EC5277FE9D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900000"/>
            <a:ext cx="5400000" cy="42240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b="0" spc="90" baseline="0"/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7015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AD0E9892-ECD0-488E-BF1C-9AD4C5046D3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50756" y="1915"/>
            <a:ext cx="5947790" cy="4637492"/>
          </a:xfrm>
          <a:custGeom>
            <a:avLst/>
            <a:gdLst>
              <a:gd name="connsiteX0" fmla="*/ 0 w 5947790"/>
              <a:gd name="connsiteY0" fmla="*/ 0 h 4637492"/>
              <a:gd name="connsiteX1" fmla="*/ 5947790 w 5947790"/>
              <a:gd name="connsiteY1" fmla="*/ 0 h 4637492"/>
              <a:gd name="connsiteX2" fmla="*/ 5937557 w 5947790"/>
              <a:gd name="connsiteY2" fmla="*/ 4637492 h 4637492"/>
              <a:gd name="connsiteX3" fmla="*/ 996793 w 5947790"/>
              <a:gd name="connsiteY3" fmla="*/ 4437607 h 4637492"/>
              <a:gd name="connsiteX4" fmla="*/ 6365 w 5947790"/>
              <a:gd name="connsiteY4" fmla="*/ 3716717 h 4637492"/>
              <a:gd name="connsiteX5" fmla="*/ 0 w 5947790"/>
              <a:gd name="connsiteY5" fmla="*/ 3529376 h 46374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47790" h="4637492">
                <a:moveTo>
                  <a:pt x="0" y="0"/>
                </a:moveTo>
                <a:lnTo>
                  <a:pt x="5947790" y="0"/>
                </a:lnTo>
                <a:lnTo>
                  <a:pt x="5937557" y="4637492"/>
                </a:lnTo>
                <a:cubicBezTo>
                  <a:pt x="4053747" y="4559106"/>
                  <a:pt x="1493371" y="4437607"/>
                  <a:pt x="996793" y="4437607"/>
                </a:cubicBezTo>
                <a:cubicBezTo>
                  <a:pt x="232690" y="4437607"/>
                  <a:pt x="42079" y="4173401"/>
                  <a:pt x="6365" y="3716717"/>
                </a:cubicBezTo>
                <a:lnTo>
                  <a:pt x="0" y="3529376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35434C85-160C-4552-8AB4-15C5DF693F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0"/>
            <a:ext cx="5400000" cy="900000"/>
          </a:xfrm>
        </p:spPr>
        <p:txBody>
          <a:bodyPr vert="horz" wrap="square" lIns="0" tIns="72000" rIns="0" bIns="72000" rtlCol="0" anchor="b" anchorCtr="0">
            <a:norm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page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F1AF88C8-95C1-4519-BD50-31B90E7553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900000"/>
            <a:ext cx="5400000" cy="42240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b="0" spc="90" baseline="0"/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8013C53-926A-4BD6-87D4-FF1C44EE5FB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96000" y="1620000"/>
            <a:ext cx="5400000" cy="1561178"/>
          </a:xfrm>
        </p:spPr>
        <p:txBody>
          <a:bodyPr vert="horz" lIns="0" tIns="72000" rIns="0" bIns="72000" rtlCol="0">
            <a:sp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1455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>
            <a:extLst>
              <a:ext uri="{FF2B5EF4-FFF2-40B4-BE49-F238E27FC236}">
                <a16:creationId xmlns:a16="http://schemas.microsoft.com/office/drawing/2014/main" id="{38F5F631-A3E0-42F7-936E-EC69FACE10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0"/>
            <a:ext cx="11412000" cy="900000"/>
          </a:xfrm>
        </p:spPr>
        <p:txBody>
          <a:bodyPr wrap="square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page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7ACC7D1-006E-4AB6-94E7-1A65ECA7D1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900000"/>
            <a:ext cx="11412000" cy="42240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b="0" spc="90" baseline="0"/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F14E842-37A4-48C0-BDD1-AA1475EC02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6000" y="1620000"/>
            <a:ext cx="11412000" cy="1561178"/>
          </a:xfrm>
        </p:spPr>
        <p:txBody>
          <a:bodyPr vert="horz" lIns="0" tIns="72000" rIns="0" bIns="72000" rtlCol="0">
            <a:spAutoFit/>
          </a:bodyPr>
          <a:lstStyle>
            <a:lvl1pPr marL="268288" indent="-268288">
              <a:buClr>
                <a:schemeClr val="accent1"/>
              </a:buClr>
              <a:buFont typeface="Segoe UI Symbol" panose="020B0502040204020203" pitchFamily="34" charset="0"/>
              <a:buChar char="❯"/>
              <a:defRPr lang="en-US" dirty="0"/>
            </a:lvl1pPr>
            <a:lvl2pPr marL="685800" indent="-228600">
              <a:buClr>
                <a:schemeClr val="accent1"/>
              </a:buClr>
              <a:buFont typeface="Arial" panose="020B0604020202020204" pitchFamily="34" charset="0"/>
              <a:buChar char="•"/>
              <a:defRPr lang="en-US" dirty="0"/>
            </a:lvl2pPr>
            <a:lvl3pPr marL="1143000" indent="-228600">
              <a:buClr>
                <a:schemeClr val="accent1"/>
              </a:buClr>
              <a:buFont typeface="Segoe UI Symbol" panose="020B0502040204020203" pitchFamily="34" charset="0"/>
              <a:buChar char="⚬"/>
              <a:defRPr lang="en-US" dirty="0"/>
            </a:lvl3pPr>
            <a:lvl4pPr marL="1600200" indent="-228600">
              <a:buClr>
                <a:schemeClr val="accent1"/>
              </a:buClr>
              <a:buFont typeface="Arial" panose="020B0604020202020204" pitchFamily="34" charset="0"/>
              <a:buChar char="•"/>
              <a:defRPr lang="en-US" dirty="0"/>
            </a:lvl4pPr>
            <a:lvl5pPr>
              <a:buClr>
                <a:schemeClr val="accent1"/>
              </a:buCl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0729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>
            <a:extLst>
              <a:ext uri="{FF2B5EF4-FFF2-40B4-BE49-F238E27FC236}">
                <a16:creationId xmlns:a16="http://schemas.microsoft.com/office/drawing/2014/main" id="{EF85321A-E7F1-406B-AD08-2DFA1EF6D2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0"/>
            <a:ext cx="11412000" cy="900000"/>
          </a:xfrm>
        </p:spPr>
        <p:txBody>
          <a:bodyPr wrap="square">
            <a:norm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r>
              <a:rPr lang="en-US" dirty="0"/>
              <a:t>Click to edit page tit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4AA4F1C-4C22-495E-8105-629B35E025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900000"/>
            <a:ext cx="11412000" cy="42473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b="0" spc="90" baseline="0"/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AF80449-5EE3-4B42-806A-E0A9E96F379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96000" y="1620000"/>
            <a:ext cx="5400000" cy="1561178"/>
          </a:xfrm>
        </p:spPr>
        <p:txBody>
          <a:bodyPr vert="horz" lIns="0" tIns="72000" rIns="0" bIns="72000" rtlCol="0">
            <a:sp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A840569-2832-479F-8F2C-5215E973AAD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96000" y="1620000"/>
            <a:ext cx="5400000" cy="1561178"/>
          </a:xfrm>
        </p:spPr>
        <p:txBody>
          <a:bodyPr vert="horz" lIns="0" tIns="72000" rIns="0" bIns="72000" rtlCol="0">
            <a:sp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6632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 and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>
            <a:extLst>
              <a:ext uri="{FF2B5EF4-FFF2-40B4-BE49-F238E27FC236}">
                <a16:creationId xmlns:a16="http://schemas.microsoft.com/office/drawing/2014/main" id="{EF85321A-E7F1-406B-AD08-2DFA1EF6D2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0"/>
            <a:ext cx="11412000" cy="900000"/>
          </a:xfrm>
        </p:spPr>
        <p:txBody>
          <a:bodyPr wrap="square">
            <a:norm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r>
              <a:rPr lang="en-US" dirty="0"/>
              <a:t>Click to edit page tit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4AA4F1C-4C22-495E-8105-629B35E025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900000"/>
            <a:ext cx="11412000" cy="42473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b="0" spc="90" baseline="0"/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36143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posi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4">
            <a:extLst>
              <a:ext uri="{FF2B5EF4-FFF2-40B4-BE49-F238E27FC236}">
                <a16:creationId xmlns:a16="http://schemas.microsoft.com/office/drawing/2014/main" id="{5A182A2C-5592-4BEF-9F69-533CCAEB1E07}"/>
              </a:ext>
            </a:extLst>
          </p:cNvPr>
          <p:cNvCxnSpPr>
            <a:cxnSpLocks/>
          </p:cNvCxnSpPr>
          <p:nvPr userDrawn="1"/>
        </p:nvCxnSpPr>
        <p:spPr>
          <a:xfrm>
            <a:off x="396000" y="900000"/>
            <a:ext cx="2452451" cy="0"/>
          </a:xfrm>
          <a:prstGeom prst="line">
            <a:avLst/>
          </a:prstGeom>
          <a:ln w="222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2A64923-73DE-4625-9392-5C78E2FDD22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80558" y="-37"/>
            <a:ext cx="11517918" cy="4679384"/>
          </a:xfrm>
          <a:custGeom>
            <a:avLst/>
            <a:gdLst>
              <a:gd name="connsiteX0" fmla="*/ 0 w 11517918"/>
              <a:gd name="connsiteY0" fmla="*/ 0 h 4679384"/>
              <a:gd name="connsiteX1" fmla="*/ 11517918 w 11517918"/>
              <a:gd name="connsiteY1" fmla="*/ 0 h 4679384"/>
              <a:gd name="connsiteX2" fmla="*/ 11517918 w 11517918"/>
              <a:gd name="connsiteY2" fmla="*/ 4679384 h 4679384"/>
              <a:gd name="connsiteX3" fmla="*/ 11237426 w 11517918"/>
              <a:gd name="connsiteY3" fmla="*/ 4679384 h 4679384"/>
              <a:gd name="connsiteX4" fmla="*/ 1633872 w 11517918"/>
              <a:gd name="connsiteY4" fmla="*/ 4316120 h 4679384"/>
              <a:gd name="connsiteX5" fmla="*/ 2219 w 11517918"/>
              <a:gd name="connsiteY5" fmla="*/ 2953600 h 4679384"/>
              <a:gd name="connsiteX6" fmla="*/ 0 w 11517918"/>
              <a:gd name="connsiteY6" fmla="*/ 2804868 h 4679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517918" h="4679384">
                <a:moveTo>
                  <a:pt x="0" y="0"/>
                </a:moveTo>
                <a:lnTo>
                  <a:pt x="11517918" y="0"/>
                </a:lnTo>
                <a:lnTo>
                  <a:pt x="11517918" y="4679384"/>
                </a:lnTo>
                <a:lnTo>
                  <a:pt x="11237426" y="4679384"/>
                </a:lnTo>
                <a:cubicBezTo>
                  <a:pt x="7868632" y="4533922"/>
                  <a:pt x="2653542" y="4316120"/>
                  <a:pt x="1633872" y="4316120"/>
                </a:cubicBezTo>
                <a:cubicBezTo>
                  <a:pt x="292531" y="4316120"/>
                  <a:pt x="29819" y="3813148"/>
                  <a:pt x="2219" y="2953600"/>
                </a:cubicBezTo>
                <a:lnTo>
                  <a:pt x="0" y="280486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2485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posi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14">
            <a:extLst>
              <a:ext uri="{FF2B5EF4-FFF2-40B4-BE49-F238E27FC236}">
                <a16:creationId xmlns:a16="http://schemas.microsoft.com/office/drawing/2014/main" id="{E4965C48-C6C7-4CA2-84AE-CC38CA1558A3}"/>
              </a:ext>
            </a:extLst>
          </p:cNvPr>
          <p:cNvCxnSpPr>
            <a:cxnSpLocks/>
          </p:cNvCxnSpPr>
          <p:nvPr userDrawn="1"/>
        </p:nvCxnSpPr>
        <p:spPr>
          <a:xfrm>
            <a:off x="396000" y="900000"/>
            <a:ext cx="2452451" cy="0"/>
          </a:xfrm>
          <a:prstGeom prst="line">
            <a:avLst/>
          </a:prstGeom>
          <a:ln w="222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1FFBF72-53A8-468B-BDF2-5DD7D44D7E9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80560" y="0"/>
            <a:ext cx="11512718" cy="3287698"/>
          </a:xfrm>
          <a:custGeom>
            <a:avLst/>
            <a:gdLst>
              <a:gd name="connsiteX0" fmla="*/ 0 w 11512718"/>
              <a:gd name="connsiteY0" fmla="*/ 0 h 3287698"/>
              <a:gd name="connsiteX1" fmla="*/ 11512718 w 11512718"/>
              <a:gd name="connsiteY1" fmla="*/ 0 h 3287698"/>
              <a:gd name="connsiteX2" fmla="*/ 11512718 w 11512718"/>
              <a:gd name="connsiteY2" fmla="*/ 3287698 h 3287698"/>
              <a:gd name="connsiteX3" fmla="*/ 1633340 w 11512718"/>
              <a:gd name="connsiteY3" fmla="*/ 2895238 h 3287698"/>
              <a:gd name="connsiteX4" fmla="*/ 2453 w 11512718"/>
              <a:gd name="connsiteY4" fmla="*/ 1470534 h 3287698"/>
              <a:gd name="connsiteX5" fmla="*/ 0 w 11512718"/>
              <a:gd name="connsiteY5" fmla="*/ 1298549 h 328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512718" h="3287698">
                <a:moveTo>
                  <a:pt x="0" y="0"/>
                </a:moveTo>
                <a:lnTo>
                  <a:pt x="11512718" y="0"/>
                </a:lnTo>
                <a:lnTo>
                  <a:pt x="11512718" y="3287698"/>
                </a:lnTo>
                <a:cubicBezTo>
                  <a:pt x="8162510" y="3135989"/>
                  <a:pt x="2681312" y="2895238"/>
                  <a:pt x="1633340" y="2895238"/>
                </a:cubicBezTo>
                <a:cubicBezTo>
                  <a:pt x="292594" y="2895238"/>
                  <a:pt x="30035" y="2369285"/>
                  <a:pt x="2453" y="1470534"/>
                </a:cubicBezTo>
                <a:lnTo>
                  <a:pt x="0" y="129854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EE46C94-B2D7-422F-9A86-1413CA1605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3240000"/>
            <a:ext cx="11412000" cy="900000"/>
          </a:xfrm>
        </p:spPr>
        <p:txBody>
          <a:bodyPr vert="horz" wrap="square" lIns="0" tIns="72000" rIns="0" bIns="72000" rtlCol="0" anchor="b" anchorCtr="0">
            <a:norm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089D35-621B-46D2-A01A-2CC544CCBFAF}"/>
              </a:ext>
            </a:extLst>
          </p:cNvPr>
          <p:cNvCxnSpPr>
            <a:cxnSpLocks/>
          </p:cNvCxnSpPr>
          <p:nvPr userDrawn="1"/>
        </p:nvCxnSpPr>
        <p:spPr>
          <a:xfrm>
            <a:off x="396000" y="4149423"/>
            <a:ext cx="2452451" cy="0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90322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posi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61AEA83-074A-4B9D-B103-B2D762F91E1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531370" y="-1"/>
            <a:ext cx="8668262" cy="6176486"/>
          </a:xfrm>
          <a:custGeom>
            <a:avLst/>
            <a:gdLst>
              <a:gd name="connsiteX0" fmla="*/ 0 w 8668262"/>
              <a:gd name="connsiteY0" fmla="*/ 0 h 6176486"/>
              <a:gd name="connsiteX1" fmla="*/ 8668262 w 8668262"/>
              <a:gd name="connsiteY1" fmla="*/ 0 h 6176486"/>
              <a:gd name="connsiteX2" fmla="*/ 8668262 w 8668262"/>
              <a:gd name="connsiteY2" fmla="*/ 6176486 h 6176486"/>
              <a:gd name="connsiteX3" fmla="*/ 1630276 w 8668262"/>
              <a:gd name="connsiteY3" fmla="*/ 5924773 h 6176486"/>
              <a:gd name="connsiteX4" fmla="*/ 1027 w 8668262"/>
              <a:gd name="connsiteY4" fmla="*/ 4576941 h 6176486"/>
              <a:gd name="connsiteX5" fmla="*/ 0 w 8668262"/>
              <a:gd name="connsiteY5" fmla="*/ 4508759 h 6176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668262" h="6176486">
                <a:moveTo>
                  <a:pt x="0" y="0"/>
                </a:moveTo>
                <a:lnTo>
                  <a:pt x="8668262" y="0"/>
                </a:lnTo>
                <a:lnTo>
                  <a:pt x="8668262" y="6176486"/>
                </a:lnTo>
                <a:cubicBezTo>
                  <a:pt x="5674096" y="6052187"/>
                  <a:pt x="2413259" y="5924773"/>
                  <a:pt x="1630276" y="5924773"/>
                </a:cubicBezTo>
                <a:cubicBezTo>
                  <a:pt x="290910" y="5924773"/>
                  <a:pt x="28586" y="5427231"/>
                  <a:pt x="1027" y="4576941"/>
                </a:cubicBezTo>
                <a:lnTo>
                  <a:pt x="0" y="450875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Picture</a:t>
            </a:r>
            <a:endParaRPr lang="en-US"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BDDD62C5-3B79-484B-83EC-D92F0CB05E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1" y="0"/>
            <a:ext cx="3060000" cy="900000"/>
          </a:xfrm>
        </p:spPr>
        <p:txBody>
          <a:bodyPr vert="horz" wrap="square" lIns="0" tIns="72000" rIns="0" bIns="72000" rtlCol="0" anchor="b" anchorCtr="0">
            <a:norm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page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4CF2634-1DD4-4256-A6C6-D48FBBB75C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999" y="900000"/>
            <a:ext cx="3060000" cy="42240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b="0" spc="90" baseline="0"/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8409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rgbClr val="D422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rgbClr val="213D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 marL="352425" indent="0" algn="l">
              <a:tabLst>
                <a:tab pos="719138" algn="l"/>
              </a:tabLst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rgbClr val="183C8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337564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posi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5B48923-0E26-48C9-ACFC-7F3F13BA6CF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28631" y="0"/>
            <a:ext cx="5868971" cy="6017970"/>
          </a:xfrm>
          <a:custGeom>
            <a:avLst/>
            <a:gdLst>
              <a:gd name="connsiteX0" fmla="*/ 0 w 5868971"/>
              <a:gd name="connsiteY0" fmla="*/ 0 h 6017970"/>
              <a:gd name="connsiteX1" fmla="*/ 5868971 w 5868971"/>
              <a:gd name="connsiteY1" fmla="*/ 0 h 6017970"/>
              <a:gd name="connsiteX2" fmla="*/ 5868971 w 5868971"/>
              <a:gd name="connsiteY2" fmla="*/ 6017970 h 6017970"/>
              <a:gd name="connsiteX3" fmla="*/ 1623644 w 5868971"/>
              <a:gd name="connsiteY3" fmla="*/ 5879596 h 6017970"/>
              <a:gd name="connsiteX4" fmla="*/ 0 w 5868971"/>
              <a:gd name="connsiteY4" fmla="*/ 4368679 h 6017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68971" h="6017970">
                <a:moveTo>
                  <a:pt x="0" y="0"/>
                </a:moveTo>
                <a:lnTo>
                  <a:pt x="5868971" y="0"/>
                </a:lnTo>
                <a:lnTo>
                  <a:pt x="5868971" y="6017970"/>
                </a:lnTo>
                <a:cubicBezTo>
                  <a:pt x="3877564" y="5939968"/>
                  <a:pt x="2161959" y="5879596"/>
                  <a:pt x="1623644" y="5879596"/>
                </a:cubicBezTo>
                <a:cubicBezTo>
                  <a:pt x="202164" y="5879596"/>
                  <a:pt x="0" y="5317806"/>
                  <a:pt x="0" y="4368679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Picture </a:t>
            </a:r>
            <a:endParaRPr lang="en-US" dirty="0"/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8E998269-C26B-43FF-A468-4497C7416B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-1"/>
            <a:ext cx="5400000" cy="900000"/>
          </a:xfrm>
        </p:spPr>
        <p:txBody>
          <a:bodyPr vert="horz" wrap="square" lIns="0" tIns="72000" rIns="0" bIns="72000" rtlCol="0" anchor="b" anchorCtr="0">
            <a:norm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page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68575AB-11E2-4E69-BE26-49AC780847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900000"/>
            <a:ext cx="5400000" cy="42240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b="0" spc="90" baseline="0"/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B660BF2-B062-4C4C-AB56-0B61BCD78C6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96000" y="1620000"/>
            <a:ext cx="5400000" cy="1561178"/>
          </a:xfrm>
        </p:spPr>
        <p:txBody>
          <a:bodyPr vert="horz" lIns="0" tIns="72000" rIns="0" bIns="72000" rtlCol="0">
            <a:sp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6865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posi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BF5007D-3A91-49B0-9A55-EC34920D43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459310" y="1"/>
            <a:ext cx="3732690" cy="3428700"/>
          </a:xfrm>
          <a:custGeom>
            <a:avLst/>
            <a:gdLst>
              <a:gd name="connsiteX0" fmla="*/ 0 w 3732690"/>
              <a:gd name="connsiteY0" fmla="*/ 0 h 3428700"/>
              <a:gd name="connsiteX1" fmla="*/ 3732690 w 3732690"/>
              <a:gd name="connsiteY1" fmla="*/ 0 h 3428700"/>
              <a:gd name="connsiteX2" fmla="*/ 3732690 w 3732690"/>
              <a:gd name="connsiteY2" fmla="*/ 3428700 h 3428700"/>
              <a:gd name="connsiteX3" fmla="*/ 3274678 w 3732690"/>
              <a:gd name="connsiteY3" fmla="*/ 3412852 h 3428700"/>
              <a:gd name="connsiteX4" fmla="*/ 1035046 w 3732690"/>
              <a:gd name="connsiteY4" fmla="*/ 3350156 h 3428700"/>
              <a:gd name="connsiteX5" fmla="*/ 0 w 3732690"/>
              <a:gd name="connsiteY5" fmla="*/ 2489245 h 34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32690" h="3428700">
                <a:moveTo>
                  <a:pt x="0" y="0"/>
                </a:moveTo>
                <a:lnTo>
                  <a:pt x="3732690" y="0"/>
                </a:lnTo>
                <a:lnTo>
                  <a:pt x="3732690" y="3428700"/>
                </a:lnTo>
                <a:lnTo>
                  <a:pt x="3274678" y="3412852"/>
                </a:lnTo>
                <a:cubicBezTo>
                  <a:pt x="2210192" y="3376493"/>
                  <a:pt x="1335317" y="3350156"/>
                  <a:pt x="1035046" y="3350156"/>
                </a:cubicBezTo>
                <a:cubicBezTo>
                  <a:pt x="128876" y="3350156"/>
                  <a:pt x="0" y="3030051"/>
                  <a:pt x="0" y="2489245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Picture </a:t>
            </a:r>
            <a:endParaRPr lang="en-US" dirty="0"/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8E998269-C26B-43FF-A468-4497C7416B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999" y="0"/>
            <a:ext cx="7812000" cy="900000"/>
          </a:xfrm>
        </p:spPr>
        <p:txBody>
          <a:bodyPr vert="horz" wrap="square" lIns="0" tIns="72000" rIns="0" bIns="72000" rtlCol="0" anchor="b" anchorCtr="0">
            <a:norm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page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655BF6D-205C-456B-82EF-CEF67AE987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999" y="900000"/>
            <a:ext cx="7812000" cy="42240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b="0" spc="90" baseline="0"/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CB6C61-4976-4AF1-B525-E951E2B45AC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96000" y="1620000"/>
            <a:ext cx="7812000" cy="1561178"/>
          </a:xfrm>
        </p:spPr>
        <p:txBody>
          <a:bodyPr vert="horz" lIns="0" tIns="72000" rIns="0" bIns="72000" rtlCol="0">
            <a:sp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4895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posi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AD5BEF0-F727-490E-AC61-BF0D8DC4AF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121797" y="-728"/>
            <a:ext cx="3077152" cy="6010465"/>
          </a:xfrm>
          <a:custGeom>
            <a:avLst/>
            <a:gdLst>
              <a:gd name="connsiteX0" fmla="*/ 0 w 3077152"/>
              <a:gd name="connsiteY0" fmla="*/ 0 h 6010465"/>
              <a:gd name="connsiteX1" fmla="*/ 3077152 w 3077152"/>
              <a:gd name="connsiteY1" fmla="*/ 0 h 6010465"/>
              <a:gd name="connsiteX2" fmla="*/ 3077152 w 3077152"/>
              <a:gd name="connsiteY2" fmla="*/ 6010465 h 6010465"/>
              <a:gd name="connsiteX3" fmla="*/ 1622459 w 3077152"/>
              <a:gd name="connsiteY3" fmla="*/ 5974041 h 6010465"/>
              <a:gd name="connsiteX4" fmla="*/ 552 w 3077152"/>
              <a:gd name="connsiteY4" fmla="*/ 4615192 h 6010465"/>
              <a:gd name="connsiteX5" fmla="*/ 0 w 3077152"/>
              <a:gd name="connsiteY5" fmla="*/ 4578072 h 6010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77152" h="6010465">
                <a:moveTo>
                  <a:pt x="0" y="0"/>
                </a:moveTo>
                <a:lnTo>
                  <a:pt x="3077152" y="0"/>
                </a:lnTo>
                <a:lnTo>
                  <a:pt x="3077152" y="6010465"/>
                </a:lnTo>
                <a:cubicBezTo>
                  <a:pt x="2393090" y="5987681"/>
                  <a:pt x="1876648" y="5974041"/>
                  <a:pt x="1622459" y="5974041"/>
                </a:cubicBezTo>
                <a:cubicBezTo>
                  <a:pt x="289102" y="5974041"/>
                  <a:pt x="27983" y="5472432"/>
                  <a:pt x="552" y="4615192"/>
                </a:cubicBezTo>
                <a:lnTo>
                  <a:pt x="0" y="4578072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Picture</a:t>
            </a:r>
            <a:endParaRPr lang="en-US"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06DF2F0-F702-4C39-94D2-512492E0E9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999" y="0"/>
            <a:ext cx="8280000" cy="900000"/>
          </a:xfrm>
        </p:spPr>
        <p:txBody>
          <a:bodyPr wrap="square">
            <a:norm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r>
              <a:rPr lang="en-US" dirty="0"/>
              <a:t>Click to edit page tit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255D2B5-8AD2-419C-9D98-2797580D09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900000"/>
            <a:ext cx="8280000" cy="42240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b="0" spc="90" baseline="0"/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EDB1D34-B789-4D2B-9168-4D903EFDBE9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96000" y="1620000"/>
            <a:ext cx="8280000" cy="1561178"/>
          </a:xfrm>
        </p:spPr>
        <p:txBody>
          <a:bodyPr vert="horz" lIns="0" tIns="72000" rIns="0" bIns="72000" rtlCol="0">
            <a:sp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95450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aphic 2">
            <a:extLst>
              <a:ext uri="{FF2B5EF4-FFF2-40B4-BE49-F238E27FC236}">
                <a16:creationId xmlns:a16="http://schemas.microsoft.com/office/drawing/2014/main" id="{B78F6E79-49D6-4D69-9702-8DDE5FCAAA65}"/>
              </a:ext>
            </a:extLst>
          </p:cNvPr>
          <p:cNvSpPr/>
          <p:nvPr userDrawn="1"/>
        </p:nvSpPr>
        <p:spPr>
          <a:xfrm>
            <a:off x="3659301" y="0"/>
            <a:ext cx="8532699" cy="6261861"/>
          </a:xfrm>
          <a:custGeom>
            <a:avLst/>
            <a:gdLst>
              <a:gd name="connsiteX0" fmla="*/ 848 w 8663952"/>
              <a:gd name="connsiteY0" fmla="*/ 792 h 6358183"/>
              <a:gd name="connsiteX1" fmla="*/ 848 w 8663952"/>
              <a:gd name="connsiteY1" fmla="*/ 5082441 h 6358183"/>
              <a:gd name="connsiteX2" fmla="*/ 322407 w 8663952"/>
              <a:gd name="connsiteY2" fmla="*/ 5893845 h 6358183"/>
              <a:gd name="connsiteX3" fmla="*/ 771173 w 8663952"/>
              <a:gd name="connsiteY3" fmla="*/ 6019143 h 6358183"/>
              <a:gd name="connsiteX4" fmla="*/ 2231011 w 8663952"/>
              <a:gd name="connsiteY4" fmla="*/ 6115982 h 6358183"/>
              <a:gd name="connsiteX5" fmla="*/ 8664801 w 8663952"/>
              <a:gd name="connsiteY5" fmla="*/ 6358976 h 6358183"/>
              <a:gd name="connsiteX6" fmla="*/ 8664801 w 8663952"/>
              <a:gd name="connsiteY6" fmla="*/ 792 h 6358183"/>
              <a:gd name="connsiteX7" fmla="*/ 848 w 8663952"/>
              <a:gd name="connsiteY7" fmla="*/ 792 h 6358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63952" h="6358183">
                <a:moveTo>
                  <a:pt x="848" y="792"/>
                </a:moveTo>
                <a:lnTo>
                  <a:pt x="848" y="5082441"/>
                </a:lnTo>
                <a:cubicBezTo>
                  <a:pt x="848" y="5445529"/>
                  <a:pt x="65520" y="5732748"/>
                  <a:pt x="322407" y="5893845"/>
                </a:cubicBezTo>
                <a:cubicBezTo>
                  <a:pt x="431565" y="5962299"/>
                  <a:pt x="580754" y="6001094"/>
                  <a:pt x="771173" y="6019143"/>
                </a:cubicBezTo>
                <a:cubicBezTo>
                  <a:pt x="851347" y="6026745"/>
                  <a:pt x="1754197" y="6092502"/>
                  <a:pt x="2231011" y="6115982"/>
                </a:cubicBezTo>
                <a:cubicBezTo>
                  <a:pt x="2671202" y="6137664"/>
                  <a:pt x="7785692" y="6329318"/>
                  <a:pt x="8664801" y="6358976"/>
                </a:cubicBezTo>
                <a:lnTo>
                  <a:pt x="8664801" y="792"/>
                </a:lnTo>
                <a:lnTo>
                  <a:pt x="848" y="792"/>
                </a:lnTo>
                <a:close/>
              </a:path>
            </a:pathLst>
          </a:custGeom>
          <a:solidFill>
            <a:srgbClr val="E8E9E9"/>
          </a:solidFill>
          <a:ln w="37442" cap="flat">
            <a:noFill/>
            <a:prstDash val="solid"/>
            <a:round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66D32D0D-C649-4B11-8C6E-7FBAFCBFF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1" y="0"/>
            <a:ext cx="3060000" cy="900000"/>
          </a:xfrm>
        </p:spPr>
        <p:txBody>
          <a:bodyPr vert="horz" wrap="square" lIns="0" tIns="72000" rIns="0" bIns="72000" rtlCol="0" anchor="b" anchorCtr="0">
            <a:norm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page tit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6F741F99-7CAF-4125-A64A-4D20DCBE3B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999" y="900000"/>
            <a:ext cx="3060000" cy="42240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b="0" spc="90" baseline="0"/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0649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>
            <a:extLst>
              <a:ext uri="{FF2B5EF4-FFF2-40B4-BE49-F238E27FC236}">
                <a16:creationId xmlns:a16="http://schemas.microsoft.com/office/drawing/2014/main" id="{3871FB65-6C41-464E-B0F9-FD4802D199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0"/>
            <a:ext cx="11412000" cy="900000"/>
          </a:xfrm>
        </p:spPr>
        <p:txBody>
          <a:bodyPr wrap="square">
            <a:normAutofit/>
          </a:bodyPr>
          <a:lstStyle>
            <a:lvl1pPr>
              <a:lnSpc>
                <a:spcPct val="100000"/>
              </a:lnSpc>
              <a:defRPr sz="2400">
                <a:solidFill>
                  <a:srgbClr val="F58C35"/>
                </a:solidFill>
              </a:defRPr>
            </a:lvl1pPr>
          </a:lstStyle>
          <a:p>
            <a:r>
              <a:rPr lang="en-US" dirty="0"/>
              <a:t>Click to edit page tit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FFC94B8-AEF1-4FF9-A5F4-5D829B53AE92}"/>
              </a:ext>
            </a:extLst>
          </p:cNvPr>
          <p:cNvCxnSpPr>
            <a:cxnSpLocks/>
          </p:cNvCxnSpPr>
          <p:nvPr userDrawn="1"/>
        </p:nvCxnSpPr>
        <p:spPr>
          <a:xfrm>
            <a:off x="396000" y="900000"/>
            <a:ext cx="2452451" cy="0"/>
          </a:xfrm>
          <a:prstGeom prst="line">
            <a:avLst/>
          </a:prstGeom>
          <a:ln w="22225">
            <a:solidFill>
              <a:srgbClr val="FE8C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C8CC406-8A3B-49DB-B188-F2FD96EB05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6000" y="1620000"/>
            <a:ext cx="11412000" cy="1561178"/>
          </a:xfrm>
        </p:spPr>
        <p:txBody>
          <a:bodyPr vert="horz" lIns="0" tIns="72000" rIns="0" bIns="72000" rtlCol="0">
            <a:spAutoFit/>
          </a:bodyPr>
          <a:lstStyle>
            <a:lvl1pPr marL="268288" indent="-268288">
              <a:buClr>
                <a:schemeClr val="accent2"/>
              </a:buClr>
              <a:buFont typeface="Segoe UI Symbol" panose="020B0502040204020203" pitchFamily="34" charset="0"/>
              <a:buChar char="❯"/>
              <a:defRPr lang="en-US" dirty="0"/>
            </a:lvl1pPr>
            <a:lvl2pPr>
              <a:buClr>
                <a:schemeClr val="accent2"/>
              </a:buClr>
              <a:defRPr lang="en-US" dirty="0"/>
            </a:lvl2pPr>
            <a:lvl3pPr marL="1143000" indent="-228600">
              <a:buClr>
                <a:schemeClr val="accent2"/>
              </a:buClr>
              <a:buFont typeface="Segoe UI Symbol" panose="020B0502040204020203" pitchFamily="34" charset="0"/>
              <a:buChar char="⚬"/>
              <a:defRPr lang="en-US" dirty="0"/>
            </a:lvl3pPr>
            <a:lvl4pPr>
              <a:buClr>
                <a:schemeClr val="accent2"/>
              </a:buClr>
              <a:defRPr lang="en-US" dirty="0"/>
            </a:lvl4pPr>
            <a:lvl5pPr marL="2057400" indent="-228600">
              <a:buClr>
                <a:schemeClr val="accent2"/>
              </a:buClr>
              <a:buFont typeface="Arial" panose="020B0604020202020204" pitchFamily="34" charset="0"/>
              <a:buChar char="•"/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975CEC-10AE-4B51-B6E6-83E3B5996C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900000"/>
            <a:ext cx="11412000" cy="42240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b="0" spc="90" baseline="0"/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60374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rquoise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B5DFD2A-B12D-4CD0-B863-FA98A75F7C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6000" y="1620000"/>
            <a:ext cx="11412000" cy="1561178"/>
          </a:xfrm>
        </p:spPr>
        <p:txBody>
          <a:bodyPr vert="horz" lIns="0" tIns="72000" rIns="0" bIns="72000" rtlCol="0">
            <a:spAutoFit/>
          </a:bodyPr>
          <a:lstStyle>
            <a:lvl1pPr marL="268288" indent="-268288">
              <a:buClr>
                <a:schemeClr val="accent3"/>
              </a:buClr>
              <a:buFont typeface="Segoe UI Symbol" panose="020B0502040204020203" pitchFamily="34" charset="0"/>
              <a:buChar char="❯"/>
              <a:defRPr lang="en-US" dirty="0"/>
            </a:lvl1pPr>
            <a:lvl2pPr>
              <a:buClr>
                <a:schemeClr val="accent3"/>
              </a:buClr>
              <a:defRPr lang="en-US" dirty="0"/>
            </a:lvl2pPr>
            <a:lvl3pPr marL="1143000" indent="-228600">
              <a:buClr>
                <a:schemeClr val="accent3"/>
              </a:buClr>
              <a:buFont typeface="Segoe UI Symbol" panose="020B0502040204020203" pitchFamily="34" charset="0"/>
              <a:buChar char="⚬"/>
              <a:defRPr lang="en-US" dirty="0"/>
            </a:lvl3pPr>
            <a:lvl4pPr>
              <a:buClr>
                <a:schemeClr val="accent3"/>
              </a:buClr>
              <a:defRPr lang="en-US" dirty="0"/>
            </a:lvl4pPr>
            <a:lvl5pPr>
              <a:buClr>
                <a:schemeClr val="accent3"/>
              </a:buCl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6DDCCF-CA5C-465A-BA79-32D507D3C8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385262"/>
            <a:ext cx="11412000" cy="514738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4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page 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90C44A-ACEC-4109-98EE-C954E5C0F233}"/>
              </a:ext>
            </a:extLst>
          </p:cNvPr>
          <p:cNvCxnSpPr>
            <a:cxnSpLocks/>
          </p:cNvCxnSpPr>
          <p:nvPr userDrawn="1"/>
        </p:nvCxnSpPr>
        <p:spPr>
          <a:xfrm>
            <a:off x="396000" y="900000"/>
            <a:ext cx="2452451" cy="0"/>
          </a:xfrm>
          <a:prstGeom prst="line">
            <a:avLst/>
          </a:prstGeom>
          <a:ln w="222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EA8C533-F75C-4B2E-8BA3-41166FEF03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900000"/>
            <a:ext cx="11412000" cy="422405"/>
          </a:xfrm>
          <a:prstGeom prst="rect">
            <a:avLst/>
          </a:prstGeom>
        </p:spPr>
        <p:txBody>
          <a:bodyPr vert="horz" wrap="square" lIns="0" tIns="72000" rIns="0" bIns="72000" rtlCol="0" anchor="t" anchorCtr="0">
            <a:spAutoFit/>
          </a:bodyPr>
          <a:lstStyle>
            <a:lvl1pPr>
              <a:defRPr lang="en-US" b="0" spc="90" baseline="0" dirty="0"/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36468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an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>
            <a:extLst>
              <a:ext uri="{FF2B5EF4-FFF2-40B4-BE49-F238E27FC236}">
                <a16:creationId xmlns:a16="http://schemas.microsoft.com/office/drawing/2014/main" id="{38F5F631-A3E0-42F7-936E-EC69FACE10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0"/>
            <a:ext cx="11412000" cy="900000"/>
          </a:xfrm>
        </p:spPr>
        <p:txBody>
          <a:bodyPr wrap="square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page 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0B14BEC-DF55-4753-962B-E5388B538A4C}"/>
              </a:ext>
            </a:extLst>
          </p:cNvPr>
          <p:cNvCxnSpPr>
            <a:cxnSpLocks/>
          </p:cNvCxnSpPr>
          <p:nvPr userDrawn="1"/>
        </p:nvCxnSpPr>
        <p:spPr>
          <a:xfrm>
            <a:off x="396000" y="900000"/>
            <a:ext cx="2452451" cy="0"/>
          </a:xfrm>
          <a:prstGeom prst="line">
            <a:avLst/>
          </a:prstGeom>
          <a:ln w="222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7ACC7D1-006E-4AB6-94E7-1A65ECA7D1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900000"/>
            <a:ext cx="11412000" cy="422405"/>
          </a:xfrm>
          <a:prstGeom prst="rect">
            <a:avLst/>
          </a:prstGeom>
        </p:spPr>
        <p:txBody>
          <a:bodyPr vert="horz" wrap="square" lIns="0" tIns="72000" rIns="0" bIns="72000" rtlCol="0" anchor="t" anchorCtr="0">
            <a:spAutoFit/>
          </a:bodyPr>
          <a:lstStyle>
            <a:lvl1pPr>
              <a:defRPr lang="en-US" b="0" spc="90" baseline="0" dirty="0"/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F14E842-37A4-48C0-BDD1-AA1475EC02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6000" y="1620000"/>
            <a:ext cx="11412000" cy="1561178"/>
          </a:xfrm>
        </p:spPr>
        <p:txBody>
          <a:bodyPr vert="horz" lIns="0" tIns="72000" rIns="0" bIns="72000" rtlCol="0">
            <a:spAutoFit/>
          </a:bodyPr>
          <a:lstStyle>
            <a:lvl1pPr marL="268288" indent="-268288">
              <a:buClr>
                <a:schemeClr val="accent5"/>
              </a:buClr>
              <a:buFont typeface="Segoe UI Symbol" panose="020B0502040204020203" pitchFamily="34" charset="0"/>
              <a:buChar char="❯"/>
              <a:defRPr lang="en-US" dirty="0"/>
            </a:lvl1pPr>
            <a:lvl2pPr>
              <a:buClr>
                <a:schemeClr val="accent5"/>
              </a:buClr>
              <a:defRPr lang="en-US" dirty="0"/>
            </a:lvl2pPr>
            <a:lvl3pPr marL="1143000" indent="-228600">
              <a:buClr>
                <a:schemeClr val="accent5"/>
              </a:buClr>
              <a:buFont typeface="Segoe UI Symbol" panose="020B0502040204020203" pitchFamily="34" charset="0"/>
              <a:buChar char="⚬"/>
              <a:defRPr lang="en-US" dirty="0"/>
            </a:lvl3pPr>
            <a:lvl4pPr>
              <a:buClr>
                <a:schemeClr val="accent5"/>
              </a:buClr>
              <a:defRPr lang="en-US" dirty="0"/>
            </a:lvl4pPr>
            <a:lvl5pPr>
              <a:buClr>
                <a:schemeClr val="accent5"/>
              </a:buCl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50960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lmon pin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>
            <a:extLst>
              <a:ext uri="{FF2B5EF4-FFF2-40B4-BE49-F238E27FC236}">
                <a16:creationId xmlns:a16="http://schemas.microsoft.com/office/drawing/2014/main" id="{38F5F631-A3E0-42F7-936E-EC69FACE10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0"/>
            <a:ext cx="11412000" cy="900000"/>
          </a:xfrm>
        </p:spPr>
        <p:txBody>
          <a:bodyPr wrap="square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page 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0B14BEC-DF55-4753-962B-E5388B538A4C}"/>
              </a:ext>
            </a:extLst>
          </p:cNvPr>
          <p:cNvCxnSpPr>
            <a:cxnSpLocks/>
          </p:cNvCxnSpPr>
          <p:nvPr userDrawn="1"/>
        </p:nvCxnSpPr>
        <p:spPr>
          <a:xfrm>
            <a:off x="396000" y="900000"/>
            <a:ext cx="2452451" cy="0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7ACC7D1-006E-4AB6-94E7-1A65ECA7D1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900000"/>
            <a:ext cx="11412000" cy="42240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b="0" spc="90" baseline="0"/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F14E842-37A4-48C0-BDD1-AA1475EC02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6000" y="1620000"/>
            <a:ext cx="11412000" cy="1561178"/>
          </a:xfrm>
        </p:spPr>
        <p:txBody>
          <a:bodyPr vert="horz" lIns="0" tIns="72000" rIns="0" bIns="72000" rtlCol="0">
            <a:spAutoFit/>
          </a:bodyPr>
          <a:lstStyle>
            <a:lvl1pPr marL="268288" indent="-268288">
              <a:buClr>
                <a:schemeClr val="accent4"/>
              </a:buClr>
              <a:buFont typeface="Segoe UI Symbol" panose="020B0502040204020203" pitchFamily="34" charset="0"/>
              <a:buChar char="❯"/>
              <a:defRPr lang="en-US" dirty="0"/>
            </a:lvl1pPr>
            <a:lvl2pPr marL="685800" indent="-228600">
              <a:buClr>
                <a:schemeClr val="accent4"/>
              </a:buClr>
              <a:buFont typeface="Arial" panose="020B0604020202020204" pitchFamily="34" charset="0"/>
              <a:buChar char="•"/>
              <a:defRPr lang="en-US" dirty="0"/>
            </a:lvl2pPr>
            <a:lvl3pPr marL="1143000" indent="-228600">
              <a:buClr>
                <a:schemeClr val="accent4"/>
              </a:buClr>
              <a:buFont typeface="Segoe UI Symbol" panose="020B0502040204020203" pitchFamily="34" charset="0"/>
              <a:buChar char="⚬"/>
              <a:defRPr lang="en-US" dirty="0"/>
            </a:lvl3pPr>
            <a:lvl4pPr>
              <a:buClr>
                <a:schemeClr val="accent4"/>
              </a:buClr>
              <a:defRPr lang="en-US" dirty="0"/>
            </a:lvl4pPr>
            <a:lvl5pPr>
              <a:buClr>
                <a:schemeClr val="accent4"/>
              </a:buCl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20347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8">
            <a:extLst>
              <a:ext uri="{FF2B5EF4-FFF2-40B4-BE49-F238E27FC236}">
                <a16:creationId xmlns:a16="http://schemas.microsoft.com/office/drawing/2014/main" id="{0695BD7F-B52A-410C-8EB6-78142C40B202}"/>
              </a:ext>
            </a:extLst>
          </p:cNvPr>
          <p:cNvSpPr/>
          <p:nvPr userDrawn="1"/>
        </p:nvSpPr>
        <p:spPr>
          <a:xfrm>
            <a:off x="10566401" y="6364277"/>
            <a:ext cx="1234020" cy="373661"/>
          </a:xfrm>
          <a:custGeom>
            <a:avLst/>
            <a:gdLst>
              <a:gd name="connsiteX0" fmla="*/ 475605 w 859636"/>
              <a:gd name="connsiteY0" fmla="*/ 236432 h 258520"/>
              <a:gd name="connsiteX1" fmla="*/ 468556 w 859636"/>
              <a:gd name="connsiteY1" fmla="*/ 238573 h 258520"/>
              <a:gd name="connsiteX2" fmla="*/ 466083 w 859636"/>
              <a:gd name="connsiteY2" fmla="*/ 244700 h 258520"/>
              <a:gd name="connsiteX3" fmla="*/ 468962 w 859636"/>
              <a:gd name="connsiteY3" fmla="*/ 249867 h 258520"/>
              <a:gd name="connsiteX4" fmla="*/ 477783 w 859636"/>
              <a:gd name="connsiteY4" fmla="*/ 251712 h 258520"/>
              <a:gd name="connsiteX5" fmla="*/ 490627 w 859636"/>
              <a:gd name="connsiteY5" fmla="*/ 249166 h 258520"/>
              <a:gd name="connsiteX6" fmla="*/ 494577 w 859636"/>
              <a:gd name="connsiteY6" fmla="*/ 242522 h 258520"/>
              <a:gd name="connsiteX7" fmla="*/ 492583 w 859636"/>
              <a:gd name="connsiteY7" fmla="*/ 237835 h 258520"/>
              <a:gd name="connsiteX8" fmla="*/ 484094 w 859636"/>
              <a:gd name="connsiteY8" fmla="*/ 236432 h 258520"/>
              <a:gd name="connsiteX9" fmla="*/ 689763 w 859636"/>
              <a:gd name="connsiteY9" fmla="*/ 195928 h 258520"/>
              <a:gd name="connsiteX10" fmla="*/ 679834 w 859636"/>
              <a:gd name="connsiteY10" fmla="*/ 199840 h 258520"/>
              <a:gd name="connsiteX11" fmla="*/ 676808 w 859636"/>
              <a:gd name="connsiteY11" fmla="*/ 213423 h 258520"/>
              <a:gd name="connsiteX12" fmla="*/ 679945 w 859636"/>
              <a:gd name="connsiteY12" fmla="*/ 227116 h 258520"/>
              <a:gd name="connsiteX13" fmla="*/ 689948 w 859636"/>
              <a:gd name="connsiteY13" fmla="*/ 231102 h 258520"/>
              <a:gd name="connsiteX14" fmla="*/ 699101 w 859636"/>
              <a:gd name="connsiteY14" fmla="*/ 226636 h 258520"/>
              <a:gd name="connsiteX15" fmla="*/ 702164 w 859636"/>
              <a:gd name="connsiteY15" fmla="*/ 213349 h 258520"/>
              <a:gd name="connsiteX16" fmla="*/ 699101 w 859636"/>
              <a:gd name="connsiteY16" fmla="*/ 200136 h 258520"/>
              <a:gd name="connsiteX17" fmla="*/ 689763 w 859636"/>
              <a:gd name="connsiteY17" fmla="*/ 195928 h 258520"/>
              <a:gd name="connsiteX18" fmla="*/ 298158 w 859636"/>
              <a:gd name="connsiteY18" fmla="*/ 195922 h 258520"/>
              <a:gd name="connsiteX19" fmla="*/ 288303 w 859636"/>
              <a:gd name="connsiteY19" fmla="*/ 199649 h 258520"/>
              <a:gd name="connsiteX20" fmla="*/ 285166 w 859636"/>
              <a:gd name="connsiteY20" fmla="*/ 211866 h 258520"/>
              <a:gd name="connsiteX21" fmla="*/ 285166 w 859636"/>
              <a:gd name="connsiteY21" fmla="*/ 213417 h 258520"/>
              <a:gd name="connsiteX22" fmla="*/ 288303 w 859636"/>
              <a:gd name="connsiteY22" fmla="*/ 227110 h 258520"/>
              <a:gd name="connsiteX23" fmla="*/ 298306 w 859636"/>
              <a:gd name="connsiteY23" fmla="*/ 231096 h 258520"/>
              <a:gd name="connsiteX24" fmla="*/ 307238 w 859636"/>
              <a:gd name="connsiteY24" fmla="*/ 226482 h 258520"/>
              <a:gd name="connsiteX25" fmla="*/ 310559 w 859636"/>
              <a:gd name="connsiteY25" fmla="*/ 213343 h 258520"/>
              <a:gd name="connsiteX26" fmla="*/ 307274 w 859636"/>
              <a:gd name="connsiteY26" fmla="*/ 200314 h 258520"/>
              <a:gd name="connsiteX27" fmla="*/ 298158 w 859636"/>
              <a:gd name="connsiteY27" fmla="*/ 195922 h 258520"/>
              <a:gd name="connsiteX28" fmla="*/ 635038 w 859636"/>
              <a:gd name="connsiteY28" fmla="*/ 195915 h 258520"/>
              <a:gd name="connsiteX29" fmla="*/ 625072 w 859636"/>
              <a:gd name="connsiteY29" fmla="*/ 200234 h 258520"/>
              <a:gd name="connsiteX30" fmla="*/ 621677 w 859636"/>
              <a:gd name="connsiteY30" fmla="*/ 213410 h 258520"/>
              <a:gd name="connsiteX31" fmla="*/ 625109 w 859636"/>
              <a:gd name="connsiteY31" fmla="*/ 226661 h 258520"/>
              <a:gd name="connsiteX32" fmla="*/ 635112 w 859636"/>
              <a:gd name="connsiteY32" fmla="*/ 231090 h 258520"/>
              <a:gd name="connsiteX33" fmla="*/ 645151 w 859636"/>
              <a:gd name="connsiteY33" fmla="*/ 226698 h 258520"/>
              <a:gd name="connsiteX34" fmla="*/ 648584 w 859636"/>
              <a:gd name="connsiteY34" fmla="*/ 213410 h 258520"/>
              <a:gd name="connsiteX35" fmla="*/ 645151 w 859636"/>
              <a:gd name="connsiteY35" fmla="*/ 200308 h 258520"/>
              <a:gd name="connsiteX36" fmla="*/ 635038 w 859636"/>
              <a:gd name="connsiteY36" fmla="*/ 195915 h 258520"/>
              <a:gd name="connsiteX37" fmla="*/ 479628 w 859636"/>
              <a:gd name="connsiteY37" fmla="*/ 195094 h 258520"/>
              <a:gd name="connsiteX38" fmla="*/ 472431 w 859636"/>
              <a:gd name="connsiteY38" fmla="*/ 197567 h 258520"/>
              <a:gd name="connsiteX39" fmla="*/ 469921 w 859636"/>
              <a:gd name="connsiteY39" fmla="*/ 205059 h 258520"/>
              <a:gd name="connsiteX40" fmla="*/ 472468 w 859636"/>
              <a:gd name="connsiteY40" fmla="*/ 211998 h 258520"/>
              <a:gd name="connsiteX41" fmla="*/ 479739 w 859636"/>
              <a:gd name="connsiteY41" fmla="*/ 214323 h 258520"/>
              <a:gd name="connsiteX42" fmla="*/ 489446 w 859636"/>
              <a:gd name="connsiteY42" fmla="*/ 204948 h 258520"/>
              <a:gd name="connsiteX43" fmla="*/ 479628 w 859636"/>
              <a:gd name="connsiteY43" fmla="*/ 195094 h 258520"/>
              <a:gd name="connsiteX44" fmla="*/ 811309 w 859636"/>
              <a:gd name="connsiteY44" fmla="*/ 189418 h 258520"/>
              <a:gd name="connsiteX45" fmla="*/ 820351 w 859636"/>
              <a:gd name="connsiteY45" fmla="*/ 189418 h 258520"/>
              <a:gd name="connsiteX46" fmla="*/ 830760 w 859636"/>
              <a:gd name="connsiteY46" fmla="*/ 216510 h 258520"/>
              <a:gd name="connsiteX47" fmla="*/ 834525 w 859636"/>
              <a:gd name="connsiteY47" fmla="*/ 227878 h 258520"/>
              <a:gd name="connsiteX48" fmla="*/ 836333 w 859636"/>
              <a:gd name="connsiteY48" fmla="*/ 222268 h 258520"/>
              <a:gd name="connsiteX49" fmla="*/ 847923 w 859636"/>
              <a:gd name="connsiteY49" fmla="*/ 189861 h 258520"/>
              <a:gd name="connsiteX50" fmla="*/ 848070 w 859636"/>
              <a:gd name="connsiteY50" fmla="*/ 189418 h 258520"/>
              <a:gd name="connsiteX51" fmla="*/ 857113 w 859636"/>
              <a:gd name="connsiteY51" fmla="*/ 189418 h 258520"/>
              <a:gd name="connsiteX52" fmla="*/ 836665 w 859636"/>
              <a:gd name="connsiteY52" fmla="*/ 243564 h 258520"/>
              <a:gd name="connsiteX53" fmla="*/ 829505 w 859636"/>
              <a:gd name="connsiteY53" fmla="*/ 255043 h 258520"/>
              <a:gd name="connsiteX54" fmla="*/ 819281 w 859636"/>
              <a:gd name="connsiteY54" fmla="*/ 258512 h 258520"/>
              <a:gd name="connsiteX55" fmla="*/ 812748 w 859636"/>
              <a:gd name="connsiteY55" fmla="*/ 257774 h 258520"/>
              <a:gd name="connsiteX56" fmla="*/ 812195 w 859636"/>
              <a:gd name="connsiteY56" fmla="*/ 257627 h 258520"/>
              <a:gd name="connsiteX57" fmla="*/ 812195 w 859636"/>
              <a:gd name="connsiteY57" fmla="*/ 250577 h 258520"/>
              <a:gd name="connsiteX58" fmla="*/ 813043 w 859636"/>
              <a:gd name="connsiteY58" fmla="*/ 250762 h 258520"/>
              <a:gd name="connsiteX59" fmla="*/ 818137 w 859636"/>
              <a:gd name="connsiteY59" fmla="*/ 251278 h 258520"/>
              <a:gd name="connsiteX60" fmla="*/ 827918 w 859636"/>
              <a:gd name="connsiteY60" fmla="*/ 243490 h 258520"/>
              <a:gd name="connsiteX61" fmla="*/ 830428 w 859636"/>
              <a:gd name="connsiteY61" fmla="*/ 237105 h 258520"/>
              <a:gd name="connsiteX62" fmla="*/ 765707 w 859636"/>
              <a:gd name="connsiteY62" fmla="*/ 189061 h 258520"/>
              <a:gd name="connsiteX63" fmla="*/ 774122 w 859636"/>
              <a:gd name="connsiteY63" fmla="*/ 189061 h 258520"/>
              <a:gd name="connsiteX64" fmla="*/ 774122 w 859636"/>
              <a:gd name="connsiteY64" fmla="*/ 237154 h 258520"/>
              <a:gd name="connsiteX65" fmla="*/ 765707 w 859636"/>
              <a:gd name="connsiteY65" fmla="*/ 237154 h 258520"/>
              <a:gd name="connsiteX66" fmla="*/ 721518 w 859636"/>
              <a:gd name="connsiteY66" fmla="*/ 189061 h 258520"/>
              <a:gd name="connsiteX67" fmla="*/ 729933 w 859636"/>
              <a:gd name="connsiteY67" fmla="*/ 189061 h 258520"/>
              <a:gd name="connsiteX68" fmla="*/ 729933 w 859636"/>
              <a:gd name="connsiteY68" fmla="*/ 237154 h 258520"/>
              <a:gd name="connsiteX69" fmla="*/ 721518 w 859636"/>
              <a:gd name="connsiteY69" fmla="*/ 237154 h 258520"/>
              <a:gd name="connsiteX70" fmla="*/ 387645 w 859636"/>
              <a:gd name="connsiteY70" fmla="*/ 189061 h 258520"/>
              <a:gd name="connsiteX71" fmla="*/ 396060 w 859636"/>
              <a:gd name="connsiteY71" fmla="*/ 189061 h 258520"/>
              <a:gd name="connsiteX72" fmla="*/ 396060 w 859636"/>
              <a:gd name="connsiteY72" fmla="*/ 237154 h 258520"/>
              <a:gd name="connsiteX73" fmla="*/ 387645 w 859636"/>
              <a:gd name="connsiteY73" fmla="*/ 237154 h 258520"/>
              <a:gd name="connsiteX74" fmla="*/ 329908 w 859636"/>
              <a:gd name="connsiteY74" fmla="*/ 189061 h 258520"/>
              <a:gd name="connsiteX75" fmla="*/ 338323 w 859636"/>
              <a:gd name="connsiteY75" fmla="*/ 189061 h 258520"/>
              <a:gd name="connsiteX76" fmla="*/ 338323 w 859636"/>
              <a:gd name="connsiteY76" fmla="*/ 237154 h 258520"/>
              <a:gd name="connsiteX77" fmla="*/ 329908 w 859636"/>
              <a:gd name="connsiteY77" fmla="*/ 237154 h 258520"/>
              <a:gd name="connsiteX78" fmla="*/ 299154 w 859636"/>
              <a:gd name="connsiteY78" fmla="*/ 188577 h 258520"/>
              <a:gd name="connsiteX79" fmla="*/ 314029 w 859636"/>
              <a:gd name="connsiteY79" fmla="*/ 195183 h 258520"/>
              <a:gd name="connsiteX80" fmla="*/ 319233 w 859636"/>
              <a:gd name="connsiteY80" fmla="*/ 213417 h 258520"/>
              <a:gd name="connsiteX81" fmla="*/ 313955 w 859636"/>
              <a:gd name="connsiteY81" fmla="*/ 231760 h 258520"/>
              <a:gd name="connsiteX82" fmla="*/ 299154 w 859636"/>
              <a:gd name="connsiteY82" fmla="*/ 238367 h 258520"/>
              <a:gd name="connsiteX83" fmla="*/ 290555 w 859636"/>
              <a:gd name="connsiteY83" fmla="*/ 236632 h 258520"/>
              <a:gd name="connsiteX84" fmla="*/ 284834 w 859636"/>
              <a:gd name="connsiteY84" fmla="*/ 232351 h 258520"/>
              <a:gd name="connsiteX85" fmla="*/ 285166 w 859636"/>
              <a:gd name="connsiteY85" fmla="*/ 238589 h 258520"/>
              <a:gd name="connsiteX86" fmla="*/ 285166 w 859636"/>
              <a:gd name="connsiteY86" fmla="*/ 258520 h 258520"/>
              <a:gd name="connsiteX87" fmla="*/ 276751 w 859636"/>
              <a:gd name="connsiteY87" fmla="*/ 258520 h 258520"/>
              <a:gd name="connsiteX88" fmla="*/ 276751 w 859636"/>
              <a:gd name="connsiteY88" fmla="*/ 189426 h 258520"/>
              <a:gd name="connsiteX89" fmla="*/ 283763 w 859636"/>
              <a:gd name="connsiteY89" fmla="*/ 189426 h 258520"/>
              <a:gd name="connsiteX90" fmla="*/ 284649 w 859636"/>
              <a:gd name="connsiteY90" fmla="*/ 195183 h 258520"/>
              <a:gd name="connsiteX91" fmla="*/ 290555 w 859636"/>
              <a:gd name="connsiteY91" fmla="*/ 190348 h 258520"/>
              <a:gd name="connsiteX92" fmla="*/ 299154 w 859636"/>
              <a:gd name="connsiteY92" fmla="*/ 188577 h 258520"/>
              <a:gd name="connsiteX93" fmla="*/ 635259 w 859636"/>
              <a:gd name="connsiteY93" fmla="*/ 188571 h 258520"/>
              <a:gd name="connsiteX94" fmla="*/ 651352 w 859636"/>
              <a:gd name="connsiteY94" fmla="*/ 195325 h 258520"/>
              <a:gd name="connsiteX95" fmla="*/ 657294 w 859636"/>
              <a:gd name="connsiteY95" fmla="*/ 213410 h 258520"/>
              <a:gd name="connsiteX96" fmla="*/ 651352 w 859636"/>
              <a:gd name="connsiteY96" fmla="*/ 231717 h 258520"/>
              <a:gd name="connsiteX97" fmla="*/ 634927 w 859636"/>
              <a:gd name="connsiteY97" fmla="*/ 238361 h 258520"/>
              <a:gd name="connsiteX98" fmla="*/ 623448 w 859636"/>
              <a:gd name="connsiteY98" fmla="*/ 235334 h 258520"/>
              <a:gd name="connsiteX99" fmla="*/ 615697 w 859636"/>
              <a:gd name="connsiteY99" fmla="*/ 226587 h 258520"/>
              <a:gd name="connsiteX100" fmla="*/ 613003 w 859636"/>
              <a:gd name="connsiteY100" fmla="*/ 213410 h 258520"/>
              <a:gd name="connsiteX101" fmla="*/ 618872 w 859636"/>
              <a:gd name="connsiteY101" fmla="*/ 195177 h 258520"/>
              <a:gd name="connsiteX102" fmla="*/ 635259 w 859636"/>
              <a:gd name="connsiteY102" fmla="*/ 188571 h 258520"/>
              <a:gd name="connsiteX103" fmla="*/ 556052 w 859636"/>
              <a:gd name="connsiteY103" fmla="*/ 188568 h 258520"/>
              <a:gd name="connsiteX104" fmla="*/ 570631 w 859636"/>
              <a:gd name="connsiteY104" fmla="*/ 196060 h 258520"/>
              <a:gd name="connsiteX105" fmla="*/ 576463 w 859636"/>
              <a:gd name="connsiteY105" fmla="*/ 190782 h 258520"/>
              <a:gd name="connsiteX106" fmla="*/ 585838 w 859636"/>
              <a:gd name="connsiteY106" fmla="*/ 188568 h 258520"/>
              <a:gd name="connsiteX107" fmla="*/ 598203 w 859636"/>
              <a:gd name="connsiteY107" fmla="*/ 192849 h 258520"/>
              <a:gd name="connsiteX108" fmla="*/ 602336 w 859636"/>
              <a:gd name="connsiteY108" fmla="*/ 206358 h 258520"/>
              <a:gd name="connsiteX109" fmla="*/ 602336 w 859636"/>
              <a:gd name="connsiteY109" fmla="*/ 237509 h 258520"/>
              <a:gd name="connsiteX110" fmla="*/ 593921 w 859636"/>
              <a:gd name="connsiteY110" fmla="*/ 237509 h 258520"/>
              <a:gd name="connsiteX111" fmla="*/ 593921 w 859636"/>
              <a:gd name="connsiteY111" fmla="*/ 206432 h 258520"/>
              <a:gd name="connsiteX112" fmla="*/ 591670 w 859636"/>
              <a:gd name="connsiteY112" fmla="*/ 198496 h 258520"/>
              <a:gd name="connsiteX113" fmla="*/ 584768 w 859636"/>
              <a:gd name="connsiteY113" fmla="*/ 195950 h 258520"/>
              <a:gd name="connsiteX114" fmla="*/ 575540 w 859636"/>
              <a:gd name="connsiteY114" fmla="*/ 199493 h 258520"/>
              <a:gd name="connsiteX115" fmla="*/ 572514 w 859636"/>
              <a:gd name="connsiteY115" fmla="*/ 210750 h 258520"/>
              <a:gd name="connsiteX116" fmla="*/ 572514 w 859636"/>
              <a:gd name="connsiteY116" fmla="*/ 237509 h 258520"/>
              <a:gd name="connsiteX117" fmla="*/ 564098 w 859636"/>
              <a:gd name="connsiteY117" fmla="*/ 237509 h 258520"/>
              <a:gd name="connsiteX118" fmla="*/ 564098 w 859636"/>
              <a:gd name="connsiteY118" fmla="*/ 206432 h 258520"/>
              <a:gd name="connsiteX119" fmla="*/ 561884 w 859636"/>
              <a:gd name="connsiteY119" fmla="*/ 198496 h 258520"/>
              <a:gd name="connsiteX120" fmla="*/ 554908 w 859636"/>
              <a:gd name="connsiteY120" fmla="*/ 195950 h 258520"/>
              <a:gd name="connsiteX121" fmla="*/ 545718 w 859636"/>
              <a:gd name="connsiteY121" fmla="*/ 199641 h 258520"/>
              <a:gd name="connsiteX122" fmla="*/ 542765 w 859636"/>
              <a:gd name="connsiteY122" fmla="*/ 212300 h 258520"/>
              <a:gd name="connsiteX123" fmla="*/ 542765 w 859636"/>
              <a:gd name="connsiteY123" fmla="*/ 237509 h 258520"/>
              <a:gd name="connsiteX124" fmla="*/ 534313 w 859636"/>
              <a:gd name="connsiteY124" fmla="*/ 237509 h 258520"/>
              <a:gd name="connsiteX125" fmla="*/ 534313 w 859636"/>
              <a:gd name="connsiteY125" fmla="*/ 189417 h 258520"/>
              <a:gd name="connsiteX126" fmla="*/ 541326 w 859636"/>
              <a:gd name="connsiteY126" fmla="*/ 189417 h 258520"/>
              <a:gd name="connsiteX127" fmla="*/ 542359 w 859636"/>
              <a:gd name="connsiteY127" fmla="*/ 195101 h 258520"/>
              <a:gd name="connsiteX128" fmla="*/ 547600 w 859636"/>
              <a:gd name="connsiteY128" fmla="*/ 190561 h 258520"/>
              <a:gd name="connsiteX129" fmla="*/ 556052 w 859636"/>
              <a:gd name="connsiteY129" fmla="*/ 188568 h 258520"/>
              <a:gd name="connsiteX130" fmla="*/ 432906 w 859636"/>
              <a:gd name="connsiteY130" fmla="*/ 188568 h 258520"/>
              <a:gd name="connsiteX131" fmla="*/ 446083 w 859636"/>
              <a:gd name="connsiteY131" fmla="*/ 192812 h 258520"/>
              <a:gd name="connsiteX132" fmla="*/ 450549 w 859636"/>
              <a:gd name="connsiteY132" fmla="*/ 206358 h 258520"/>
              <a:gd name="connsiteX133" fmla="*/ 450549 w 859636"/>
              <a:gd name="connsiteY133" fmla="*/ 237509 h 258520"/>
              <a:gd name="connsiteX134" fmla="*/ 442133 w 859636"/>
              <a:gd name="connsiteY134" fmla="*/ 237509 h 258520"/>
              <a:gd name="connsiteX135" fmla="*/ 442133 w 859636"/>
              <a:gd name="connsiteY135" fmla="*/ 206616 h 258520"/>
              <a:gd name="connsiteX136" fmla="*/ 439697 w 859636"/>
              <a:gd name="connsiteY136" fmla="*/ 198533 h 258520"/>
              <a:gd name="connsiteX137" fmla="*/ 432057 w 859636"/>
              <a:gd name="connsiteY137" fmla="*/ 195950 h 258520"/>
              <a:gd name="connsiteX138" fmla="*/ 421833 w 859636"/>
              <a:gd name="connsiteY138" fmla="*/ 199677 h 258520"/>
              <a:gd name="connsiteX139" fmla="*/ 418585 w 859636"/>
              <a:gd name="connsiteY139" fmla="*/ 212300 h 258520"/>
              <a:gd name="connsiteX140" fmla="*/ 418585 w 859636"/>
              <a:gd name="connsiteY140" fmla="*/ 237509 h 258520"/>
              <a:gd name="connsiteX141" fmla="*/ 410133 w 859636"/>
              <a:gd name="connsiteY141" fmla="*/ 237509 h 258520"/>
              <a:gd name="connsiteX142" fmla="*/ 410133 w 859636"/>
              <a:gd name="connsiteY142" fmla="*/ 189417 h 258520"/>
              <a:gd name="connsiteX143" fmla="*/ 417146 w 859636"/>
              <a:gd name="connsiteY143" fmla="*/ 189417 h 258520"/>
              <a:gd name="connsiteX144" fmla="*/ 418179 w 859636"/>
              <a:gd name="connsiteY144" fmla="*/ 195138 h 258520"/>
              <a:gd name="connsiteX145" fmla="*/ 423863 w 859636"/>
              <a:gd name="connsiteY145" fmla="*/ 190524 h 258520"/>
              <a:gd name="connsiteX146" fmla="*/ 432906 w 859636"/>
              <a:gd name="connsiteY146" fmla="*/ 188568 h 258520"/>
              <a:gd name="connsiteX147" fmla="*/ 374373 w 859636"/>
              <a:gd name="connsiteY147" fmla="*/ 188568 h 258520"/>
              <a:gd name="connsiteX148" fmla="*/ 380094 w 859636"/>
              <a:gd name="connsiteY148" fmla="*/ 189084 h 258520"/>
              <a:gd name="connsiteX149" fmla="*/ 380721 w 859636"/>
              <a:gd name="connsiteY149" fmla="*/ 189232 h 258520"/>
              <a:gd name="connsiteX150" fmla="*/ 379540 w 859636"/>
              <a:gd name="connsiteY150" fmla="*/ 197131 h 258520"/>
              <a:gd name="connsiteX151" fmla="*/ 378839 w 859636"/>
              <a:gd name="connsiteY151" fmla="*/ 196983 h 258520"/>
              <a:gd name="connsiteX152" fmla="*/ 373856 w 859636"/>
              <a:gd name="connsiteY152" fmla="*/ 196356 h 258520"/>
              <a:gd name="connsiteX153" fmla="*/ 364666 w 859636"/>
              <a:gd name="connsiteY153" fmla="*/ 200748 h 258520"/>
              <a:gd name="connsiteX154" fmla="*/ 360790 w 859636"/>
              <a:gd name="connsiteY154" fmla="*/ 211747 h 258520"/>
              <a:gd name="connsiteX155" fmla="*/ 360790 w 859636"/>
              <a:gd name="connsiteY155" fmla="*/ 237509 h 258520"/>
              <a:gd name="connsiteX156" fmla="*/ 352375 w 859636"/>
              <a:gd name="connsiteY156" fmla="*/ 237509 h 258520"/>
              <a:gd name="connsiteX157" fmla="*/ 352375 w 859636"/>
              <a:gd name="connsiteY157" fmla="*/ 189417 h 258520"/>
              <a:gd name="connsiteX158" fmla="*/ 359498 w 859636"/>
              <a:gd name="connsiteY158" fmla="*/ 189417 h 258520"/>
              <a:gd name="connsiteX159" fmla="*/ 360237 w 859636"/>
              <a:gd name="connsiteY159" fmla="*/ 197131 h 258520"/>
              <a:gd name="connsiteX160" fmla="*/ 365921 w 859636"/>
              <a:gd name="connsiteY160" fmla="*/ 191151 h 258520"/>
              <a:gd name="connsiteX161" fmla="*/ 374373 w 859636"/>
              <a:gd name="connsiteY161" fmla="*/ 188568 h 258520"/>
              <a:gd name="connsiteX162" fmla="*/ 204203 w 859636"/>
              <a:gd name="connsiteY162" fmla="*/ 188568 h 258520"/>
              <a:gd name="connsiteX163" fmla="*/ 217379 w 859636"/>
              <a:gd name="connsiteY163" fmla="*/ 192812 h 258520"/>
              <a:gd name="connsiteX164" fmla="*/ 221845 w 859636"/>
              <a:gd name="connsiteY164" fmla="*/ 206358 h 258520"/>
              <a:gd name="connsiteX165" fmla="*/ 221845 w 859636"/>
              <a:gd name="connsiteY165" fmla="*/ 237509 h 258520"/>
              <a:gd name="connsiteX166" fmla="*/ 213430 w 859636"/>
              <a:gd name="connsiteY166" fmla="*/ 237509 h 258520"/>
              <a:gd name="connsiteX167" fmla="*/ 213430 w 859636"/>
              <a:gd name="connsiteY167" fmla="*/ 206616 h 258520"/>
              <a:gd name="connsiteX168" fmla="*/ 210994 w 859636"/>
              <a:gd name="connsiteY168" fmla="*/ 198533 h 258520"/>
              <a:gd name="connsiteX169" fmla="*/ 203354 w 859636"/>
              <a:gd name="connsiteY169" fmla="*/ 195950 h 258520"/>
              <a:gd name="connsiteX170" fmla="*/ 193130 w 859636"/>
              <a:gd name="connsiteY170" fmla="*/ 199677 h 258520"/>
              <a:gd name="connsiteX171" fmla="*/ 189882 w 859636"/>
              <a:gd name="connsiteY171" fmla="*/ 212300 h 258520"/>
              <a:gd name="connsiteX172" fmla="*/ 189882 w 859636"/>
              <a:gd name="connsiteY172" fmla="*/ 237509 h 258520"/>
              <a:gd name="connsiteX173" fmla="*/ 181430 w 859636"/>
              <a:gd name="connsiteY173" fmla="*/ 237509 h 258520"/>
              <a:gd name="connsiteX174" fmla="*/ 181430 w 859636"/>
              <a:gd name="connsiteY174" fmla="*/ 189417 h 258520"/>
              <a:gd name="connsiteX175" fmla="*/ 188442 w 859636"/>
              <a:gd name="connsiteY175" fmla="*/ 189417 h 258520"/>
              <a:gd name="connsiteX176" fmla="*/ 189476 w 859636"/>
              <a:gd name="connsiteY176" fmla="*/ 195138 h 258520"/>
              <a:gd name="connsiteX177" fmla="*/ 195160 w 859636"/>
              <a:gd name="connsiteY177" fmla="*/ 190524 h 258520"/>
              <a:gd name="connsiteX178" fmla="*/ 204203 w 859636"/>
              <a:gd name="connsiteY178" fmla="*/ 188568 h 258520"/>
              <a:gd name="connsiteX179" fmla="*/ 479924 w 859636"/>
              <a:gd name="connsiteY179" fmla="*/ 188561 h 258520"/>
              <a:gd name="connsiteX180" fmla="*/ 486641 w 859636"/>
              <a:gd name="connsiteY180" fmla="*/ 189410 h 258520"/>
              <a:gd name="connsiteX181" fmla="*/ 503361 w 859636"/>
              <a:gd name="connsiteY181" fmla="*/ 189410 h 258520"/>
              <a:gd name="connsiteX182" fmla="*/ 503361 w 859636"/>
              <a:gd name="connsiteY182" fmla="*/ 195168 h 258520"/>
              <a:gd name="connsiteX183" fmla="*/ 495241 w 859636"/>
              <a:gd name="connsiteY183" fmla="*/ 196127 h 258520"/>
              <a:gd name="connsiteX184" fmla="*/ 496791 w 859636"/>
              <a:gd name="connsiteY184" fmla="*/ 199264 h 258520"/>
              <a:gd name="connsiteX185" fmla="*/ 497788 w 859636"/>
              <a:gd name="connsiteY185" fmla="*/ 204948 h 258520"/>
              <a:gd name="connsiteX186" fmla="*/ 492842 w 859636"/>
              <a:gd name="connsiteY186" fmla="*/ 216390 h 258520"/>
              <a:gd name="connsiteX187" fmla="*/ 479518 w 859636"/>
              <a:gd name="connsiteY187" fmla="*/ 220672 h 258520"/>
              <a:gd name="connsiteX188" fmla="*/ 475716 w 859636"/>
              <a:gd name="connsiteY188" fmla="*/ 220340 h 258520"/>
              <a:gd name="connsiteX189" fmla="*/ 471767 w 859636"/>
              <a:gd name="connsiteY189" fmla="*/ 225654 h 258520"/>
              <a:gd name="connsiteX190" fmla="*/ 473022 w 859636"/>
              <a:gd name="connsiteY190" fmla="*/ 227906 h 258520"/>
              <a:gd name="connsiteX191" fmla="*/ 478078 w 859636"/>
              <a:gd name="connsiteY191" fmla="*/ 228755 h 258520"/>
              <a:gd name="connsiteX192" fmla="*/ 486346 w 859636"/>
              <a:gd name="connsiteY192" fmla="*/ 228755 h 258520"/>
              <a:gd name="connsiteX193" fmla="*/ 498452 w 859636"/>
              <a:gd name="connsiteY193" fmla="*/ 232077 h 258520"/>
              <a:gd name="connsiteX194" fmla="*/ 502770 w 859636"/>
              <a:gd name="connsiteY194" fmla="*/ 241931 h 258520"/>
              <a:gd name="connsiteX195" fmla="*/ 496237 w 859636"/>
              <a:gd name="connsiteY195" fmla="*/ 254333 h 258520"/>
              <a:gd name="connsiteX196" fmla="*/ 477709 w 859636"/>
              <a:gd name="connsiteY196" fmla="*/ 258504 h 258520"/>
              <a:gd name="connsiteX197" fmla="*/ 463167 w 859636"/>
              <a:gd name="connsiteY197" fmla="*/ 254960 h 258520"/>
              <a:gd name="connsiteX198" fmla="*/ 457926 w 859636"/>
              <a:gd name="connsiteY198" fmla="*/ 244773 h 258520"/>
              <a:gd name="connsiteX199" fmla="*/ 460805 w 859636"/>
              <a:gd name="connsiteY199" fmla="*/ 236949 h 258520"/>
              <a:gd name="connsiteX200" fmla="*/ 467264 w 859636"/>
              <a:gd name="connsiteY200" fmla="*/ 232926 h 258520"/>
              <a:gd name="connsiteX201" fmla="*/ 465455 w 859636"/>
              <a:gd name="connsiteY201" fmla="*/ 231043 h 258520"/>
              <a:gd name="connsiteX202" fmla="*/ 464090 w 859636"/>
              <a:gd name="connsiteY202" fmla="*/ 226688 h 258520"/>
              <a:gd name="connsiteX203" fmla="*/ 465603 w 859636"/>
              <a:gd name="connsiteY203" fmla="*/ 221816 h 258520"/>
              <a:gd name="connsiteX204" fmla="*/ 469072 w 859636"/>
              <a:gd name="connsiteY204" fmla="*/ 218605 h 258520"/>
              <a:gd name="connsiteX205" fmla="*/ 463979 w 859636"/>
              <a:gd name="connsiteY205" fmla="*/ 213770 h 258520"/>
              <a:gd name="connsiteX206" fmla="*/ 461580 w 859636"/>
              <a:gd name="connsiteY206" fmla="*/ 205244 h 258520"/>
              <a:gd name="connsiteX207" fmla="*/ 466415 w 859636"/>
              <a:gd name="connsiteY207" fmla="*/ 192879 h 258520"/>
              <a:gd name="connsiteX208" fmla="*/ 479924 w 859636"/>
              <a:gd name="connsiteY208" fmla="*/ 188561 h 258520"/>
              <a:gd name="connsiteX209" fmla="*/ 250154 w 859636"/>
              <a:gd name="connsiteY209" fmla="*/ 188559 h 258520"/>
              <a:gd name="connsiteX210" fmla="*/ 265176 w 859636"/>
              <a:gd name="connsiteY210" fmla="*/ 191697 h 258520"/>
              <a:gd name="connsiteX211" fmla="*/ 265803 w 859636"/>
              <a:gd name="connsiteY211" fmla="*/ 191955 h 258520"/>
              <a:gd name="connsiteX212" fmla="*/ 262740 w 859636"/>
              <a:gd name="connsiteY212" fmla="*/ 198931 h 258520"/>
              <a:gd name="connsiteX213" fmla="*/ 262112 w 859636"/>
              <a:gd name="connsiteY213" fmla="*/ 198709 h 258520"/>
              <a:gd name="connsiteX214" fmla="*/ 249637 w 859636"/>
              <a:gd name="connsiteY214" fmla="*/ 195830 h 258520"/>
              <a:gd name="connsiteX215" fmla="*/ 242403 w 859636"/>
              <a:gd name="connsiteY215" fmla="*/ 197307 h 258520"/>
              <a:gd name="connsiteX216" fmla="*/ 240151 w 859636"/>
              <a:gd name="connsiteY216" fmla="*/ 201108 h 258520"/>
              <a:gd name="connsiteX217" fmla="*/ 241000 w 859636"/>
              <a:gd name="connsiteY217" fmla="*/ 203914 h 258520"/>
              <a:gd name="connsiteX218" fmla="*/ 243879 w 859636"/>
              <a:gd name="connsiteY218" fmla="*/ 206239 h 258520"/>
              <a:gd name="connsiteX219" fmla="*/ 251962 w 859636"/>
              <a:gd name="connsiteY219" fmla="*/ 209634 h 258520"/>
              <a:gd name="connsiteX220" fmla="*/ 263441 w 859636"/>
              <a:gd name="connsiteY220" fmla="*/ 215909 h 258520"/>
              <a:gd name="connsiteX221" fmla="*/ 266578 w 859636"/>
              <a:gd name="connsiteY221" fmla="*/ 224103 h 258520"/>
              <a:gd name="connsiteX222" fmla="*/ 261411 w 859636"/>
              <a:gd name="connsiteY222" fmla="*/ 234696 h 258520"/>
              <a:gd name="connsiteX223" fmla="*/ 247386 w 859636"/>
              <a:gd name="connsiteY223" fmla="*/ 238387 h 258520"/>
              <a:gd name="connsiteX224" fmla="*/ 232548 w 859636"/>
              <a:gd name="connsiteY224" fmla="*/ 235323 h 258520"/>
              <a:gd name="connsiteX225" fmla="*/ 232216 w 859636"/>
              <a:gd name="connsiteY225" fmla="*/ 235139 h 258520"/>
              <a:gd name="connsiteX226" fmla="*/ 232216 w 859636"/>
              <a:gd name="connsiteY226" fmla="*/ 227092 h 258520"/>
              <a:gd name="connsiteX227" fmla="*/ 233176 w 859636"/>
              <a:gd name="connsiteY227" fmla="*/ 227572 h 258520"/>
              <a:gd name="connsiteX228" fmla="*/ 240262 w 859636"/>
              <a:gd name="connsiteY228" fmla="*/ 230230 h 258520"/>
              <a:gd name="connsiteX229" fmla="*/ 247533 w 859636"/>
              <a:gd name="connsiteY229" fmla="*/ 231189 h 258520"/>
              <a:gd name="connsiteX230" fmla="*/ 255727 w 859636"/>
              <a:gd name="connsiteY230" fmla="*/ 229492 h 258520"/>
              <a:gd name="connsiteX231" fmla="*/ 258385 w 859636"/>
              <a:gd name="connsiteY231" fmla="*/ 224693 h 258520"/>
              <a:gd name="connsiteX232" fmla="*/ 256281 w 859636"/>
              <a:gd name="connsiteY232" fmla="*/ 220523 h 258520"/>
              <a:gd name="connsiteX233" fmla="*/ 247201 w 859636"/>
              <a:gd name="connsiteY233" fmla="*/ 216057 h 258520"/>
              <a:gd name="connsiteX234" fmla="*/ 237826 w 859636"/>
              <a:gd name="connsiteY234" fmla="*/ 211738 h 258520"/>
              <a:gd name="connsiteX235" fmla="*/ 233508 w 859636"/>
              <a:gd name="connsiteY235" fmla="*/ 207420 h 258520"/>
              <a:gd name="connsiteX236" fmla="*/ 232068 w 859636"/>
              <a:gd name="connsiteY236" fmla="*/ 201551 h 258520"/>
              <a:gd name="connsiteX237" fmla="*/ 237014 w 859636"/>
              <a:gd name="connsiteY237" fmla="*/ 191992 h 258520"/>
              <a:gd name="connsiteX238" fmla="*/ 250154 w 859636"/>
              <a:gd name="connsiteY238" fmla="*/ 188559 h 258520"/>
              <a:gd name="connsiteX239" fmla="*/ 791869 w 859636"/>
              <a:gd name="connsiteY239" fmla="*/ 178562 h 258520"/>
              <a:gd name="connsiteX240" fmla="*/ 797147 w 859636"/>
              <a:gd name="connsiteY240" fmla="*/ 178562 h 258520"/>
              <a:gd name="connsiteX241" fmla="*/ 797147 w 859636"/>
              <a:gd name="connsiteY241" fmla="*/ 189414 h 258520"/>
              <a:gd name="connsiteX242" fmla="*/ 810693 w 859636"/>
              <a:gd name="connsiteY242" fmla="*/ 189414 h 258520"/>
              <a:gd name="connsiteX243" fmla="*/ 810693 w 859636"/>
              <a:gd name="connsiteY243" fmla="*/ 196279 h 258520"/>
              <a:gd name="connsiteX244" fmla="*/ 797147 w 859636"/>
              <a:gd name="connsiteY244" fmla="*/ 196279 h 258520"/>
              <a:gd name="connsiteX245" fmla="*/ 797147 w 859636"/>
              <a:gd name="connsiteY245" fmla="*/ 223112 h 258520"/>
              <a:gd name="connsiteX246" fmla="*/ 798955 w 859636"/>
              <a:gd name="connsiteY246" fmla="*/ 229128 h 258520"/>
              <a:gd name="connsiteX247" fmla="*/ 803975 w 859636"/>
              <a:gd name="connsiteY247" fmla="*/ 231158 h 258520"/>
              <a:gd name="connsiteX248" fmla="*/ 807481 w 859636"/>
              <a:gd name="connsiteY248" fmla="*/ 230900 h 258520"/>
              <a:gd name="connsiteX249" fmla="*/ 810176 w 859636"/>
              <a:gd name="connsiteY249" fmla="*/ 230346 h 258520"/>
              <a:gd name="connsiteX250" fmla="*/ 811025 w 859636"/>
              <a:gd name="connsiteY250" fmla="*/ 230088 h 258520"/>
              <a:gd name="connsiteX251" fmla="*/ 811025 w 859636"/>
              <a:gd name="connsiteY251" fmla="*/ 236842 h 258520"/>
              <a:gd name="connsiteX252" fmla="*/ 810656 w 859636"/>
              <a:gd name="connsiteY252" fmla="*/ 237027 h 258520"/>
              <a:gd name="connsiteX253" fmla="*/ 807075 w 859636"/>
              <a:gd name="connsiteY253" fmla="*/ 237986 h 258520"/>
              <a:gd name="connsiteX254" fmla="*/ 802942 w 859636"/>
              <a:gd name="connsiteY254" fmla="*/ 238355 h 258520"/>
              <a:gd name="connsiteX255" fmla="*/ 788695 w 859636"/>
              <a:gd name="connsiteY255" fmla="*/ 223407 h 258520"/>
              <a:gd name="connsiteX256" fmla="*/ 788695 w 859636"/>
              <a:gd name="connsiteY256" fmla="*/ 196279 h 258520"/>
              <a:gd name="connsiteX257" fmla="*/ 782014 w 859636"/>
              <a:gd name="connsiteY257" fmla="*/ 196279 h 258520"/>
              <a:gd name="connsiteX258" fmla="*/ 782014 w 859636"/>
              <a:gd name="connsiteY258" fmla="*/ 191739 h 258520"/>
              <a:gd name="connsiteX259" fmla="*/ 788805 w 859636"/>
              <a:gd name="connsiteY259" fmla="*/ 188749 h 258520"/>
              <a:gd name="connsiteX260" fmla="*/ 157766 w 859636"/>
              <a:gd name="connsiteY260" fmla="*/ 173425 h 258520"/>
              <a:gd name="connsiteX261" fmla="*/ 166366 w 859636"/>
              <a:gd name="connsiteY261" fmla="*/ 173425 h 258520"/>
              <a:gd name="connsiteX262" fmla="*/ 166366 w 859636"/>
              <a:gd name="connsiteY262" fmla="*/ 237131 h 258520"/>
              <a:gd name="connsiteX263" fmla="*/ 157766 w 859636"/>
              <a:gd name="connsiteY263" fmla="*/ 237131 h 258520"/>
              <a:gd name="connsiteX264" fmla="*/ 770346 w 859636"/>
              <a:gd name="connsiteY264" fmla="*/ 172053 h 258520"/>
              <a:gd name="connsiteX265" fmla="*/ 773742 w 859636"/>
              <a:gd name="connsiteY265" fmla="*/ 173382 h 258520"/>
              <a:gd name="connsiteX266" fmla="*/ 775218 w 859636"/>
              <a:gd name="connsiteY266" fmla="*/ 177405 h 258520"/>
              <a:gd name="connsiteX267" fmla="*/ 773742 w 859636"/>
              <a:gd name="connsiteY267" fmla="*/ 181465 h 258520"/>
              <a:gd name="connsiteX268" fmla="*/ 770346 w 859636"/>
              <a:gd name="connsiteY268" fmla="*/ 182831 h 258520"/>
              <a:gd name="connsiteX269" fmla="*/ 766876 w 859636"/>
              <a:gd name="connsiteY269" fmla="*/ 181465 h 258520"/>
              <a:gd name="connsiteX270" fmla="*/ 765474 w 859636"/>
              <a:gd name="connsiteY270" fmla="*/ 177405 h 258520"/>
              <a:gd name="connsiteX271" fmla="*/ 766913 w 859636"/>
              <a:gd name="connsiteY271" fmla="*/ 173382 h 258520"/>
              <a:gd name="connsiteX272" fmla="*/ 770346 w 859636"/>
              <a:gd name="connsiteY272" fmla="*/ 172053 h 258520"/>
              <a:gd name="connsiteX273" fmla="*/ 726156 w 859636"/>
              <a:gd name="connsiteY273" fmla="*/ 172053 h 258520"/>
              <a:gd name="connsiteX274" fmla="*/ 729552 w 859636"/>
              <a:gd name="connsiteY274" fmla="*/ 173382 h 258520"/>
              <a:gd name="connsiteX275" fmla="*/ 731028 w 859636"/>
              <a:gd name="connsiteY275" fmla="*/ 177405 h 258520"/>
              <a:gd name="connsiteX276" fmla="*/ 729552 w 859636"/>
              <a:gd name="connsiteY276" fmla="*/ 181465 h 258520"/>
              <a:gd name="connsiteX277" fmla="*/ 726156 w 859636"/>
              <a:gd name="connsiteY277" fmla="*/ 182831 h 258520"/>
              <a:gd name="connsiteX278" fmla="*/ 722686 w 859636"/>
              <a:gd name="connsiteY278" fmla="*/ 181465 h 258520"/>
              <a:gd name="connsiteX279" fmla="*/ 721284 w 859636"/>
              <a:gd name="connsiteY279" fmla="*/ 177405 h 258520"/>
              <a:gd name="connsiteX280" fmla="*/ 722723 w 859636"/>
              <a:gd name="connsiteY280" fmla="*/ 173382 h 258520"/>
              <a:gd name="connsiteX281" fmla="*/ 726156 w 859636"/>
              <a:gd name="connsiteY281" fmla="*/ 172053 h 258520"/>
              <a:gd name="connsiteX282" fmla="*/ 392294 w 859636"/>
              <a:gd name="connsiteY282" fmla="*/ 172053 h 258520"/>
              <a:gd name="connsiteX283" fmla="*/ 395689 w 859636"/>
              <a:gd name="connsiteY283" fmla="*/ 173382 h 258520"/>
              <a:gd name="connsiteX284" fmla="*/ 397166 w 859636"/>
              <a:gd name="connsiteY284" fmla="*/ 177405 h 258520"/>
              <a:gd name="connsiteX285" fmla="*/ 395689 w 859636"/>
              <a:gd name="connsiteY285" fmla="*/ 181465 h 258520"/>
              <a:gd name="connsiteX286" fmla="*/ 392294 w 859636"/>
              <a:gd name="connsiteY286" fmla="*/ 182831 h 258520"/>
              <a:gd name="connsiteX287" fmla="*/ 388824 w 859636"/>
              <a:gd name="connsiteY287" fmla="*/ 181465 h 258520"/>
              <a:gd name="connsiteX288" fmla="*/ 387422 w 859636"/>
              <a:gd name="connsiteY288" fmla="*/ 177405 h 258520"/>
              <a:gd name="connsiteX289" fmla="*/ 388824 w 859636"/>
              <a:gd name="connsiteY289" fmla="*/ 173382 h 258520"/>
              <a:gd name="connsiteX290" fmla="*/ 392294 w 859636"/>
              <a:gd name="connsiteY290" fmla="*/ 172053 h 258520"/>
              <a:gd name="connsiteX291" fmla="*/ 334530 w 859636"/>
              <a:gd name="connsiteY291" fmla="*/ 172053 h 258520"/>
              <a:gd name="connsiteX292" fmla="*/ 337925 w 859636"/>
              <a:gd name="connsiteY292" fmla="*/ 173382 h 258520"/>
              <a:gd name="connsiteX293" fmla="*/ 339402 w 859636"/>
              <a:gd name="connsiteY293" fmla="*/ 177405 h 258520"/>
              <a:gd name="connsiteX294" fmla="*/ 337925 w 859636"/>
              <a:gd name="connsiteY294" fmla="*/ 181465 h 258520"/>
              <a:gd name="connsiteX295" fmla="*/ 334530 w 859636"/>
              <a:gd name="connsiteY295" fmla="*/ 182831 h 258520"/>
              <a:gd name="connsiteX296" fmla="*/ 331060 w 859636"/>
              <a:gd name="connsiteY296" fmla="*/ 181465 h 258520"/>
              <a:gd name="connsiteX297" fmla="*/ 329658 w 859636"/>
              <a:gd name="connsiteY297" fmla="*/ 177405 h 258520"/>
              <a:gd name="connsiteX298" fmla="*/ 331060 w 859636"/>
              <a:gd name="connsiteY298" fmla="*/ 173382 h 258520"/>
              <a:gd name="connsiteX299" fmla="*/ 334530 w 859636"/>
              <a:gd name="connsiteY299" fmla="*/ 172053 h 258520"/>
              <a:gd name="connsiteX300" fmla="*/ 668356 w 859636"/>
              <a:gd name="connsiteY300" fmla="*/ 169796 h 258520"/>
              <a:gd name="connsiteX301" fmla="*/ 676808 w 859636"/>
              <a:gd name="connsiteY301" fmla="*/ 169796 h 258520"/>
              <a:gd name="connsiteX302" fmla="*/ 676808 w 859636"/>
              <a:gd name="connsiteY302" fmla="*/ 186590 h 258520"/>
              <a:gd name="connsiteX303" fmla="*/ 676586 w 859636"/>
              <a:gd name="connsiteY303" fmla="*/ 194636 h 258520"/>
              <a:gd name="connsiteX304" fmla="*/ 690796 w 859636"/>
              <a:gd name="connsiteY304" fmla="*/ 188657 h 258520"/>
              <a:gd name="connsiteX305" fmla="*/ 705634 w 859636"/>
              <a:gd name="connsiteY305" fmla="*/ 195190 h 258520"/>
              <a:gd name="connsiteX306" fmla="*/ 710875 w 859636"/>
              <a:gd name="connsiteY306" fmla="*/ 213423 h 258520"/>
              <a:gd name="connsiteX307" fmla="*/ 705597 w 859636"/>
              <a:gd name="connsiteY307" fmla="*/ 231730 h 258520"/>
              <a:gd name="connsiteX308" fmla="*/ 690796 w 859636"/>
              <a:gd name="connsiteY308" fmla="*/ 238374 h 258520"/>
              <a:gd name="connsiteX309" fmla="*/ 682160 w 859636"/>
              <a:gd name="connsiteY309" fmla="*/ 236639 h 258520"/>
              <a:gd name="connsiteX310" fmla="*/ 676033 w 859636"/>
              <a:gd name="connsiteY310" fmla="*/ 231841 h 258520"/>
              <a:gd name="connsiteX311" fmla="*/ 674630 w 859636"/>
              <a:gd name="connsiteY311" fmla="*/ 237525 h 258520"/>
              <a:gd name="connsiteX312" fmla="*/ 668356 w 859636"/>
              <a:gd name="connsiteY312" fmla="*/ 237525 h 258520"/>
              <a:gd name="connsiteX313" fmla="*/ 743594 w 859636"/>
              <a:gd name="connsiteY313" fmla="*/ 169394 h 258520"/>
              <a:gd name="connsiteX314" fmla="*/ 752009 w 859636"/>
              <a:gd name="connsiteY314" fmla="*/ 169394 h 258520"/>
              <a:gd name="connsiteX315" fmla="*/ 752009 w 859636"/>
              <a:gd name="connsiteY315" fmla="*/ 237122 h 258520"/>
              <a:gd name="connsiteX316" fmla="*/ 743594 w 859636"/>
              <a:gd name="connsiteY316" fmla="*/ 237122 h 258520"/>
              <a:gd name="connsiteX317" fmla="*/ 778181 w 859636"/>
              <a:gd name="connsiteY317" fmla="*/ 31202 h 258520"/>
              <a:gd name="connsiteX318" fmla="*/ 754043 w 859636"/>
              <a:gd name="connsiteY318" fmla="*/ 79664 h 258520"/>
              <a:gd name="connsiteX319" fmla="*/ 802099 w 859636"/>
              <a:gd name="connsiteY319" fmla="*/ 79664 h 258520"/>
              <a:gd name="connsiteX320" fmla="*/ 357471 w 859636"/>
              <a:gd name="connsiteY320" fmla="*/ 30700 h 258520"/>
              <a:gd name="connsiteX321" fmla="*/ 357471 w 859636"/>
              <a:gd name="connsiteY321" fmla="*/ 58973 h 258520"/>
              <a:gd name="connsiteX322" fmla="*/ 412761 w 859636"/>
              <a:gd name="connsiteY322" fmla="*/ 58973 h 258520"/>
              <a:gd name="connsiteX323" fmla="*/ 433946 w 859636"/>
              <a:gd name="connsiteY323" fmla="*/ 44836 h 258520"/>
              <a:gd name="connsiteX324" fmla="*/ 412761 w 859636"/>
              <a:gd name="connsiteY324" fmla="*/ 30700 h 258520"/>
              <a:gd name="connsiteX325" fmla="*/ 224799 w 859636"/>
              <a:gd name="connsiteY325" fmla="*/ 24987 h 258520"/>
              <a:gd name="connsiteX326" fmla="*/ 206824 w 859636"/>
              <a:gd name="connsiteY326" fmla="*/ 26611 h 258520"/>
              <a:gd name="connsiteX327" fmla="*/ 193315 w 859636"/>
              <a:gd name="connsiteY327" fmla="*/ 31077 h 258520"/>
              <a:gd name="connsiteX328" fmla="*/ 183682 w 859636"/>
              <a:gd name="connsiteY328" fmla="*/ 37758 h 258520"/>
              <a:gd name="connsiteX329" fmla="*/ 177481 w 859636"/>
              <a:gd name="connsiteY329" fmla="*/ 46026 h 258520"/>
              <a:gd name="connsiteX330" fmla="*/ 174196 w 859636"/>
              <a:gd name="connsiteY330" fmla="*/ 55216 h 258520"/>
              <a:gd name="connsiteX331" fmla="*/ 173237 w 859636"/>
              <a:gd name="connsiteY331" fmla="*/ 64554 h 258520"/>
              <a:gd name="connsiteX332" fmla="*/ 174196 w 859636"/>
              <a:gd name="connsiteY332" fmla="*/ 74040 h 258520"/>
              <a:gd name="connsiteX333" fmla="*/ 177481 w 859636"/>
              <a:gd name="connsiteY333" fmla="*/ 83267 h 258520"/>
              <a:gd name="connsiteX334" fmla="*/ 183682 w 859636"/>
              <a:gd name="connsiteY334" fmla="*/ 91461 h 258520"/>
              <a:gd name="connsiteX335" fmla="*/ 193315 w 859636"/>
              <a:gd name="connsiteY335" fmla="*/ 98104 h 258520"/>
              <a:gd name="connsiteX336" fmla="*/ 206824 w 859636"/>
              <a:gd name="connsiteY336" fmla="*/ 102497 h 258520"/>
              <a:gd name="connsiteX337" fmla="*/ 224799 w 859636"/>
              <a:gd name="connsiteY337" fmla="*/ 104084 h 258520"/>
              <a:gd name="connsiteX338" fmla="*/ 249934 w 859636"/>
              <a:gd name="connsiteY338" fmla="*/ 100614 h 258520"/>
              <a:gd name="connsiteX339" fmla="*/ 265694 w 859636"/>
              <a:gd name="connsiteY339" fmla="*/ 91461 h 258520"/>
              <a:gd name="connsiteX340" fmla="*/ 273777 w 859636"/>
              <a:gd name="connsiteY340" fmla="*/ 78690 h 258520"/>
              <a:gd name="connsiteX341" fmla="*/ 276029 w 859636"/>
              <a:gd name="connsiteY341" fmla="*/ 64554 h 258520"/>
              <a:gd name="connsiteX342" fmla="*/ 273777 w 859636"/>
              <a:gd name="connsiteY342" fmla="*/ 50418 h 258520"/>
              <a:gd name="connsiteX343" fmla="*/ 265694 w 859636"/>
              <a:gd name="connsiteY343" fmla="*/ 37647 h 258520"/>
              <a:gd name="connsiteX344" fmla="*/ 249934 w 859636"/>
              <a:gd name="connsiteY344" fmla="*/ 28494 h 258520"/>
              <a:gd name="connsiteX345" fmla="*/ 224799 w 859636"/>
              <a:gd name="connsiteY345" fmla="*/ 24987 h 258520"/>
              <a:gd name="connsiteX346" fmla="*/ 9043 w 859636"/>
              <a:gd name="connsiteY346" fmla="*/ 3354 h 258520"/>
              <a:gd name="connsiteX347" fmla="*/ 133021 w 859636"/>
              <a:gd name="connsiteY347" fmla="*/ 3428 h 258520"/>
              <a:gd name="connsiteX348" fmla="*/ 137487 w 859636"/>
              <a:gd name="connsiteY348" fmla="*/ 7894 h 258520"/>
              <a:gd name="connsiteX349" fmla="*/ 137487 w 859636"/>
              <a:gd name="connsiteY349" fmla="*/ 29191 h 258520"/>
              <a:gd name="connsiteX350" fmla="*/ 135752 w 859636"/>
              <a:gd name="connsiteY350" fmla="*/ 30925 h 258520"/>
              <a:gd name="connsiteX351" fmla="*/ 31816 w 859636"/>
              <a:gd name="connsiteY351" fmla="*/ 30888 h 258520"/>
              <a:gd name="connsiteX352" fmla="*/ 43258 w 859636"/>
              <a:gd name="connsiteY352" fmla="*/ 38861 h 258520"/>
              <a:gd name="connsiteX353" fmla="*/ 102202 w 859636"/>
              <a:gd name="connsiteY353" fmla="*/ 44028 h 258520"/>
              <a:gd name="connsiteX354" fmla="*/ 102276 w 859636"/>
              <a:gd name="connsiteY354" fmla="*/ 86068 h 258520"/>
              <a:gd name="connsiteX355" fmla="*/ 46026 w 859636"/>
              <a:gd name="connsiteY355" fmla="*/ 90976 h 258520"/>
              <a:gd name="connsiteX356" fmla="*/ 31853 w 859636"/>
              <a:gd name="connsiteY356" fmla="*/ 99096 h 258520"/>
              <a:gd name="connsiteX357" fmla="*/ 31853 w 859636"/>
              <a:gd name="connsiteY357" fmla="*/ 124084 h 258520"/>
              <a:gd name="connsiteX358" fmla="*/ 30118 w 859636"/>
              <a:gd name="connsiteY358" fmla="*/ 125819 h 258520"/>
              <a:gd name="connsiteX359" fmla="*/ 4466 w 859636"/>
              <a:gd name="connsiteY359" fmla="*/ 125819 h 258520"/>
              <a:gd name="connsiteX360" fmla="*/ 0 w 859636"/>
              <a:gd name="connsiteY360" fmla="*/ 121353 h 258520"/>
              <a:gd name="connsiteX361" fmla="*/ 37 w 859636"/>
              <a:gd name="connsiteY361" fmla="*/ 91050 h 258520"/>
              <a:gd name="connsiteX362" fmla="*/ 12107 w 859636"/>
              <a:gd name="connsiteY362" fmla="*/ 72522 h 258520"/>
              <a:gd name="connsiteX363" fmla="*/ 86442 w 859636"/>
              <a:gd name="connsiteY363" fmla="*/ 67834 h 258520"/>
              <a:gd name="connsiteX364" fmla="*/ 86405 w 859636"/>
              <a:gd name="connsiteY364" fmla="*/ 63442 h 258520"/>
              <a:gd name="connsiteX365" fmla="*/ 12623 w 859636"/>
              <a:gd name="connsiteY365" fmla="*/ 59308 h 258520"/>
              <a:gd name="connsiteX366" fmla="*/ 222 w 859636"/>
              <a:gd name="connsiteY366" fmla="*/ 40522 h 258520"/>
              <a:gd name="connsiteX367" fmla="*/ 185 w 859636"/>
              <a:gd name="connsiteY367" fmla="*/ 11843 h 258520"/>
              <a:gd name="connsiteX368" fmla="*/ 9043 w 859636"/>
              <a:gd name="connsiteY368" fmla="*/ 3354 h 258520"/>
              <a:gd name="connsiteX369" fmla="*/ 472750 w 859636"/>
              <a:gd name="connsiteY369" fmla="*/ 3281 h 258520"/>
              <a:gd name="connsiteX370" fmla="*/ 504233 w 859636"/>
              <a:gd name="connsiteY370" fmla="*/ 3281 h 258520"/>
              <a:gd name="connsiteX371" fmla="*/ 507703 w 859636"/>
              <a:gd name="connsiteY371" fmla="*/ 5459 h 258520"/>
              <a:gd name="connsiteX372" fmla="*/ 553618 w 859636"/>
              <a:gd name="connsiteY372" fmla="*/ 97768 h 258520"/>
              <a:gd name="connsiteX373" fmla="*/ 599164 w 859636"/>
              <a:gd name="connsiteY373" fmla="*/ 5459 h 258520"/>
              <a:gd name="connsiteX374" fmla="*/ 602633 w 859636"/>
              <a:gd name="connsiteY374" fmla="*/ 3281 h 258520"/>
              <a:gd name="connsiteX375" fmla="*/ 634117 w 859636"/>
              <a:gd name="connsiteY375" fmla="*/ 3281 h 258520"/>
              <a:gd name="connsiteX376" fmla="*/ 634966 w 859636"/>
              <a:gd name="connsiteY376" fmla="*/ 4720 h 258520"/>
              <a:gd name="connsiteX377" fmla="*/ 572737 w 859636"/>
              <a:gd name="connsiteY377" fmla="*/ 123679 h 258520"/>
              <a:gd name="connsiteX378" fmla="*/ 569267 w 859636"/>
              <a:gd name="connsiteY378" fmla="*/ 125782 h 258520"/>
              <a:gd name="connsiteX379" fmla="*/ 541954 w 859636"/>
              <a:gd name="connsiteY379" fmla="*/ 125782 h 258520"/>
              <a:gd name="connsiteX380" fmla="*/ 532100 w 859636"/>
              <a:gd name="connsiteY380" fmla="*/ 119840 h 258520"/>
              <a:gd name="connsiteX381" fmla="*/ 471901 w 859636"/>
              <a:gd name="connsiteY381" fmla="*/ 4720 h 258520"/>
              <a:gd name="connsiteX382" fmla="*/ 472750 w 859636"/>
              <a:gd name="connsiteY382" fmla="*/ 3281 h 258520"/>
              <a:gd name="connsiteX383" fmla="*/ 659165 w 859636"/>
              <a:gd name="connsiteY383" fmla="*/ 3215 h 258520"/>
              <a:gd name="connsiteX384" fmla="*/ 677472 w 859636"/>
              <a:gd name="connsiteY384" fmla="*/ 3215 h 258520"/>
              <a:gd name="connsiteX385" fmla="*/ 681347 w 859636"/>
              <a:gd name="connsiteY385" fmla="*/ 7090 h 258520"/>
              <a:gd name="connsiteX386" fmla="*/ 681347 w 859636"/>
              <a:gd name="connsiteY386" fmla="*/ 96706 h 258520"/>
              <a:gd name="connsiteX387" fmla="*/ 681384 w 859636"/>
              <a:gd name="connsiteY387" fmla="*/ 124055 h 258520"/>
              <a:gd name="connsiteX388" fmla="*/ 679649 w 859636"/>
              <a:gd name="connsiteY388" fmla="*/ 125790 h 258520"/>
              <a:gd name="connsiteX389" fmla="*/ 653924 w 859636"/>
              <a:gd name="connsiteY389" fmla="*/ 125827 h 258520"/>
              <a:gd name="connsiteX390" fmla="*/ 649458 w 859636"/>
              <a:gd name="connsiteY390" fmla="*/ 121361 h 258520"/>
              <a:gd name="connsiteX391" fmla="*/ 649495 w 859636"/>
              <a:gd name="connsiteY391" fmla="*/ 84452 h 258520"/>
              <a:gd name="connsiteX392" fmla="*/ 649495 w 859636"/>
              <a:gd name="connsiteY392" fmla="*/ 12848 h 258520"/>
              <a:gd name="connsiteX393" fmla="*/ 659165 w 859636"/>
              <a:gd name="connsiteY393" fmla="*/ 3215 h 258520"/>
              <a:gd name="connsiteX394" fmla="*/ 766518 w 859636"/>
              <a:gd name="connsiteY394" fmla="*/ 3188 h 258520"/>
              <a:gd name="connsiteX395" fmla="*/ 793831 w 859636"/>
              <a:gd name="connsiteY395" fmla="*/ 3188 h 258520"/>
              <a:gd name="connsiteX396" fmla="*/ 797300 w 859636"/>
              <a:gd name="connsiteY396" fmla="*/ 5292 h 258520"/>
              <a:gd name="connsiteX397" fmla="*/ 859529 w 859636"/>
              <a:gd name="connsiteY397" fmla="*/ 124250 h 258520"/>
              <a:gd name="connsiteX398" fmla="*/ 858643 w 859636"/>
              <a:gd name="connsiteY398" fmla="*/ 125689 h 258520"/>
              <a:gd name="connsiteX399" fmla="*/ 840816 w 859636"/>
              <a:gd name="connsiteY399" fmla="*/ 125689 h 258520"/>
              <a:gd name="connsiteX400" fmla="*/ 817637 w 859636"/>
              <a:gd name="connsiteY400" fmla="*/ 111332 h 258520"/>
              <a:gd name="connsiteX401" fmla="*/ 813134 w 859636"/>
              <a:gd name="connsiteY401" fmla="*/ 102178 h 258520"/>
              <a:gd name="connsiteX402" fmla="*/ 742859 w 859636"/>
              <a:gd name="connsiteY402" fmla="*/ 102178 h 258520"/>
              <a:gd name="connsiteX403" fmla="*/ 732266 w 859636"/>
              <a:gd name="connsiteY403" fmla="*/ 123512 h 258520"/>
              <a:gd name="connsiteX404" fmla="*/ 728797 w 859636"/>
              <a:gd name="connsiteY404" fmla="*/ 125689 h 258520"/>
              <a:gd name="connsiteX405" fmla="*/ 697313 w 859636"/>
              <a:gd name="connsiteY405" fmla="*/ 125689 h 258520"/>
              <a:gd name="connsiteX406" fmla="*/ 696465 w 859636"/>
              <a:gd name="connsiteY406" fmla="*/ 124250 h 258520"/>
              <a:gd name="connsiteX407" fmla="*/ 756663 w 859636"/>
              <a:gd name="connsiteY407" fmla="*/ 9167 h 258520"/>
              <a:gd name="connsiteX408" fmla="*/ 766518 w 859636"/>
              <a:gd name="connsiteY408" fmla="*/ 3188 h 258520"/>
              <a:gd name="connsiteX409" fmla="*/ 417374 w 859636"/>
              <a:gd name="connsiteY409" fmla="*/ 3166 h 258520"/>
              <a:gd name="connsiteX410" fmla="*/ 466205 w 859636"/>
              <a:gd name="connsiteY410" fmla="*/ 43397 h 258520"/>
              <a:gd name="connsiteX411" fmla="*/ 439372 w 859636"/>
              <a:gd name="connsiteY411" fmla="*/ 79937 h 258520"/>
              <a:gd name="connsiteX412" fmla="*/ 438265 w 859636"/>
              <a:gd name="connsiteY412" fmla="*/ 80343 h 258520"/>
              <a:gd name="connsiteX413" fmla="*/ 472996 w 859636"/>
              <a:gd name="connsiteY413" fmla="*/ 124154 h 258520"/>
              <a:gd name="connsiteX414" fmla="*/ 472221 w 859636"/>
              <a:gd name="connsiteY414" fmla="*/ 125741 h 258520"/>
              <a:gd name="connsiteX415" fmla="*/ 439852 w 859636"/>
              <a:gd name="connsiteY415" fmla="*/ 125741 h 258520"/>
              <a:gd name="connsiteX416" fmla="*/ 436936 w 859636"/>
              <a:gd name="connsiteY416" fmla="*/ 124449 h 258520"/>
              <a:gd name="connsiteX417" fmla="*/ 411616 w 859636"/>
              <a:gd name="connsiteY417" fmla="*/ 95697 h 258520"/>
              <a:gd name="connsiteX418" fmla="*/ 409291 w 859636"/>
              <a:gd name="connsiteY418" fmla="*/ 93261 h 258520"/>
              <a:gd name="connsiteX419" fmla="*/ 385411 w 859636"/>
              <a:gd name="connsiteY419" fmla="*/ 83554 h 258520"/>
              <a:gd name="connsiteX420" fmla="*/ 357471 w 859636"/>
              <a:gd name="connsiteY420" fmla="*/ 83554 h 258520"/>
              <a:gd name="connsiteX421" fmla="*/ 357471 w 859636"/>
              <a:gd name="connsiteY421" fmla="*/ 87983 h 258520"/>
              <a:gd name="connsiteX422" fmla="*/ 357508 w 859636"/>
              <a:gd name="connsiteY422" fmla="*/ 124043 h 258520"/>
              <a:gd name="connsiteX423" fmla="*/ 355773 w 859636"/>
              <a:gd name="connsiteY423" fmla="*/ 125778 h 258520"/>
              <a:gd name="connsiteX424" fmla="*/ 330047 w 859636"/>
              <a:gd name="connsiteY424" fmla="*/ 125815 h 258520"/>
              <a:gd name="connsiteX425" fmla="*/ 325581 w 859636"/>
              <a:gd name="connsiteY425" fmla="*/ 121349 h 258520"/>
              <a:gd name="connsiteX426" fmla="*/ 325581 w 859636"/>
              <a:gd name="connsiteY426" fmla="*/ 12910 h 258520"/>
              <a:gd name="connsiteX427" fmla="*/ 335214 w 859636"/>
              <a:gd name="connsiteY427" fmla="*/ 3240 h 258520"/>
              <a:gd name="connsiteX428" fmla="*/ 224799 w 859636"/>
              <a:gd name="connsiteY428" fmla="*/ 0 h 258520"/>
              <a:gd name="connsiteX429" fmla="*/ 259641 w 859636"/>
              <a:gd name="connsiteY429" fmla="*/ 4171 h 258520"/>
              <a:gd name="connsiteX430" fmla="*/ 285884 w 859636"/>
              <a:gd name="connsiteY430" fmla="*/ 16461 h 258520"/>
              <a:gd name="connsiteX431" fmla="*/ 302456 w 859636"/>
              <a:gd name="connsiteY431" fmla="*/ 36651 h 258520"/>
              <a:gd name="connsiteX432" fmla="*/ 308251 w 859636"/>
              <a:gd name="connsiteY432" fmla="*/ 64554 h 258520"/>
              <a:gd name="connsiteX433" fmla="*/ 302456 w 859636"/>
              <a:gd name="connsiteY433" fmla="*/ 92457 h 258520"/>
              <a:gd name="connsiteX434" fmla="*/ 285884 w 859636"/>
              <a:gd name="connsiteY434" fmla="*/ 112647 h 258520"/>
              <a:gd name="connsiteX435" fmla="*/ 259641 w 859636"/>
              <a:gd name="connsiteY435" fmla="*/ 124937 h 258520"/>
              <a:gd name="connsiteX436" fmla="*/ 224799 w 859636"/>
              <a:gd name="connsiteY436" fmla="*/ 129108 h 258520"/>
              <a:gd name="connsiteX437" fmla="*/ 189883 w 859636"/>
              <a:gd name="connsiteY437" fmla="*/ 124937 h 258520"/>
              <a:gd name="connsiteX438" fmla="*/ 163419 w 859636"/>
              <a:gd name="connsiteY438" fmla="*/ 112647 h 258520"/>
              <a:gd name="connsiteX439" fmla="*/ 146699 w 859636"/>
              <a:gd name="connsiteY439" fmla="*/ 92457 h 258520"/>
              <a:gd name="connsiteX440" fmla="*/ 140794 w 859636"/>
              <a:gd name="connsiteY440" fmla="*/ 64554 h 258520"/>
              <a:gd name="connsiteX441" fmla="*/ 146699 w 859636"/>
              <a:gd name="connsiteY441" fmla="*/ 36651 h 258520"/>
              <a:gd name="connsiteX442" fmla="*/ 163419 w 859636"/>
              <a:gd name="connsiteY442" fmla="*/ 16461 h 258520"/>
              <a:gd name="connsiteX443" fmla="*/ 189883 w 859636"/>
              <a:gd name="connsiteY443" fmla="*/ 4171 h 258520"/>
              <a:gd name="connsiteX444" fmla="*/ 224799 w 859636"/>
              <a:gd name="connsiteY444" fmla="*/ 0 h 258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</a:cxnLst>
            <a:rect l="l" t="t" r="r" b="b"/>
            <a:pathLst>
              <a:path w="859636" h="258520">
                <a:moveTo>
                  <a:pt x="475605" y="236432"/>
                </a:moveTo>
                <a:cubicBezTo>
                  <a:pt x="472579" y="236432"/>
                  <a:pt x="470217" y="237170"/>
                  <a:pt x="468556" y="238573"/>
                </a:cubicBezTo>
                <a:cubicBezTo>
                  <a:pt x="466895" y="240012"/>
                  <a:pt x="466083" y="242005"/>
                  <a:pt x="466083" y="244700"/>
                </a:cubicBezTo>
                <a:cubicBezTo>
                  <a:pt x="466083" y="246988"/>
                  <a:pt x="467042" y="248686"/>
                  <a:pt x="468962" y="249867"/>
                </a:cubicBezTo>
                <a:cubicBezTo>
                  <a:pt x="470992" y="251085"/>
                  <a:pt x="473944" y="251712"/>
                  <a:pt x="477783" y="251712"/>
                </a:cubicBezTo>
                <a:cubicBezTo>
                  <a:pt x="483578" y="251712"/>
                  <a:pt x="487896" y="250863"/>
                  <a:pt x="490627" y="249166"/>
                </a:cubicBezTo>
                <a:cubicBezTo>
                  <a:pt x="493285" y="247505"/>
                  <a:pt x="494577" y="245327"/>
                  <a:pt x="494577" y="242522"/>
                </a:cubicBezTo>
                <a:cubicBezTo>
                  <a:pt x="494577" y="240197"/>
                  <a:pt x="493949" y="238683"/>
                  <a:pt x="492583" y="237835"/>
                </a:cubicBezTo>
                <a:cubicBezTo>
                  <a:pt x="491107" y="236912"/>
                  <a:pt x="488265" y="236432"/>
                  <a:pt x="484094" y="236432"/>
                </a:cubicBezTo>
                <a:close/>
                <a:moveTo>
                  <a:pt x="689763" y="195928"/>
                </a:moveTo>
                <a:cubicBezTo>
                  <a:pt x="685186" y="195928"/>
                  <a:pt x="681828" y="197257"/>
                  <a:pt x="679834" y="199840"/>
                </a:cubicBezTo>
                <a:cubicBezTo>
                  <a:pt x="677804" y="202461"/>
                  <a:pt x="676808" y="207038"/>
                  <a:pt x="676808" y="213423"/>
                </a:cubicBezTo>
                <a:cubicBezTo>
                  <a:pt x="676808" y="219808"/>
                  <a:pt x="677841" y="224422"/>
                  <a:pt x="679945" y="227116"/>
                </a:cubicBezTo>
                <a:cubicBezTo>
                  <a:pt x="681975" y="229737"/>
                  <a:pt x="685334" y="231102"/>
                  <a:pt x="689948" y="231102"/>
                </a:cubicBezTo>
                <a:cubicBezTo>
                  <a:pt x="694081" y="231102"/>
                  <a:pt x="697071" y="229626"/>
                  <a:pt x="699101" y="226636"/>
                </a:cubicBezTo>
                <a:cubicBezTo>
                  <a:pt x="701131" y="223573"/>
                  <a:pt x="702164" y="219107"/>
                  <a:pt x="702164" y="213349"/>
                </a:cubicBezTo>
                <a:cubicBezTo>
                  <a:pt x="702164" y="207407"/>
                  <a:pt x="701131" y="202978"/>
                  <a:pt x="699101" y="200136"/>
                </a:cubicBezTo>
                <a:cubicBezTo>
                  <a:pt x="697108" y="197294"/>
                  <a:pt x="694044" y="195928"/>
                  <a:pt x="689763" y="195928"/>
                </a:cubicBezTo>
                <a:close/>
                <a:moveTo>
                  <a:pt x="298158" y="195922"/>
                </a:moveTo>
                <a:cubicBezTo>
                  <a:pt x="293618" y="195922"/>
                  <a:pt x="290296" y="197177"/>
                  <a:pt x="288303" y="199649"/>
                </a:cubicBezTo>
                <a:cubicBezTo>
                  <a:pt x="286273" y="202159"/>
                  <a:pt x="285240" y="206256"/>
                  <a:pt x="285166" y="211866"/>
                </a:cubicBezTo>
                <a:lnTo>
                  <a:pt x="285166" y="213417"/>
                </a:lnTo>
                <a:cubicBezTo>
                  <a:pt x="285166" y="219802"/>
                  <a:pt x="286236" y="224416"/>
                  <a:pt x="288303" y="227110"/>
                </a:cubicBezTo>
                <a:cubicBezTo>
                  <a:pt x="290370" y="229767"/>
                  <a:pt x="293729" y="231096"/>
                  <a:pt x="298306" y="231096"/>
                </a:cubicBezTo>
                <a:cubicBezTo>
                  <a:pt x="302144" y="231096"/>
                  <a:pt x="305060" y="229583"/>
                  <a:pt x="307238" y="226482"/>
                </a:cubicBezTo>
                <a:cubicBezTo>
                  <a:pt x="309452" y="223345"/>
                  <a:pt x="310559" y="218916"/>
                  <a:pt x="310559" y="213343"/>
                </a:cubicBezTo>
                <a:cubicBezTo>
                  <a:pt x="310559" y="207696"/>
                  <a:pt x="309452" y="203303"/>
                  <a:pt x="307274" y="200314"/>
                </a:cubicBezTo>
                <a:cubicBezTo>
                  <a:pt x="305097" y="197361"/>
                  <a:pt x="302107" y="195922"/>
                  <a:pt x="298158" y="195922"/>
                </a:cubicBezTo>
                <a:close/>
                <a:moveTo>
                  <a:pt x="635038" y="195915"/>
                </a:moveTo>
                <a:cubicBezTo>
                  <a:pt x="630572" y="195915"/>
                  <a:pt x="627324" y="197355"/>
                  <a:pt x="625072" y="200234"/>
                </a:cubicBezTo>
                <a:cubicBezTo>
                  <a:pt x="622821" y="203150"/>
                  <a:pt x="621677" y="207579"/>
                  <a:pt x="621677" y="213410"/>
                </a:cubicBezTo>
                <a:cubicBezTo>
                  <a:pt x="621677" y="219205"/>
                  <a:pt x="622821" y="223671"/>
                  <a:pt x="625109" y="226661"/>
                </a:cubicBezTo>
                <a:cubicBezTo>
                  <a:pt x="627398" y="229650"/>
                  <a:pt x="630646" y="231090"/>
                  <a:pt x="635112" y="231090"/>
                </a:cubicBezTo>
                <a:cubicBezTo>
                  <a:pt x="639578" y="231090"/>
                  <a:pt x="642863" y="229650"/>
                  <a:pt x="645151" y="226698"/>
                </a:cubicBezTo>
                <a:cubicBezTo>
                  <a:pt x="647439" y="223708"/>
                  <a:pt x="648584" y="219242"/>
                  <a:pt x="648584" y="213410"/>
                </a:cubicBezTo>
                <a:cubicBezTo>
                  <a:pt x="648584" y="207653"/>
                  <a:pt x="647439" y="203260"/>
                  <a:pt x="645151" y="200308"/>
                </a:cubicBezTo>
                <a:cubicBezTo>
                  <a:pt x="642863" y="197355"/>
                  <a:pt x="639541" y="195915"/>
                  <a:pt x="635038" y="195915"/>
                </a:cubicBezTo>
                <a:close/>
                <a:moveTo>
                  <a:pt x="479628" y="195094"/>
                </a:moveTo>
                <a:cubicBezTo>
                  <a:pt x="476491" y="195094"/>
                  <a:pt x="474055" y="195906"/>
                  <a:pt x="472431" y="197567"/>
                </a:cubicBezTo>
                <a:cubicBezTo>
                  <a:pt x="470770" y="199228"/>
                  <a:pt x="469921" y="201737"/>
                  <a:pt x="469921" y="205059"/>
                </a:cubicBezTo>
                <a:cubicBezTo>
                  <a:pt x="469921" y="208123"/>
                  <a:pt x="470770" y="210448"/>
                  <a:pt x="472468" y="211998"/>
                </a:cubicBezTo>
                <a:cubicBezTo>
                  <a:pt x="474203" y="213548"/>
                  <a:pt x="476639" y="214323"/>
                  <a:pt x="479739" y="214323"/>
                </a:cubicBezTo>
                <a:cubicBezTo>
                  <a:pt x="486272" y="214323"/>
                  <a:pt x="489446" y="211260"/>
                  <a:pt x="489446" y="204948"/>
                </a:cubicBezTo>
                <a:cubicBezTo>
                  <a:pt x="489446" y="198305"/>
                  <a:pt x="486235" y="195094"/>
                  <a:pt x="479628" y="195094"/>
                </a:cubicBezTo>
                <a:close/>
                <a:moveTo>
                  <a:pt x="811309" y="189418"/>
                </a:moveTo>
                <a:lnTo>
                  <a:pt x="820351" y="189418"/>
                </a:lnTo>
                <a:lnTo>
                  <a:pt x="830760" y="216510"/>
                </a:lnTo>
                <a:cubicBezTo>
                  <a:pt x="832531" y="221345"/>
                  <a:pt x="833786" y="225147"/>
                  <a:pt x="834525" y="227878"/>
                </a:cubicBezTo>
                <a:cubicBezTo>
                  <a:pt x="834931" y="226475"/>
                  <a:pt x="835558" y="224593"/>
                  <a:pt x="836333" y="222268"/>
                </a:cubicBezTo>
                <a:cubicBezTo>
                  <a:pt x="837477" y="218798"/>
                  <a:pt x="841390" y="207873"/>
                  <a:pt x="847923" y="189861"/>
                </a:cubicBezTo>
                <a:lnTo>
                  <a:pt x="848070" y="189418"/>
                </a:lnTo>
                <a:lnTo>
                  <a:pt x="857113" y="189418"/>
                </a:lnTo>
                <a:lnTo>
                  <a:pt x="836665" y="243564"/>
                </a:lnTo>
                <a:cubicBezTo>
                  <a:pt x="834672" y="248916"/>
                  <a:pt x="832236" y="252755"/>
                  <a:pt x="829505" y="255043"/>
                </a:cubicBezTo>
                <a:cubicBezTo>
                  <a:pt x="826737" y="257331"/>
                  <a:pt x="823304" y="258512"/>
                  <a:pt x="819281" y="258512"/>
                </a:cubicBezTo>
                <a:cubicBezTo>
                  <a:pt x="817067" y="258512"/>
                  <a:pt x="814889" y="258254"/>
                  <a:pt x="812748" y="257774"/>
                </a:cubicBezTo>
                <a:lnTo>
                  <a:pt x="812195" y="257627"/>
                </a:lnTo>
                <a:lnTo>
                  <a:pt x="812195" y="250577"/>
                </a:lnTo>
                <a:lnTo>
                  <a:pt x="813043" y="250762"/>
                </a:lnTo>
                <a:cubicBezTo>
                  <a:pt x="814520" y="251094"/>
                  <a:pt x="816255" y="251278"/>
                  <a:pt x="818137" y="251278"/>
                </a:cubicBezTo>
                <a:cubicBezTo>
                  <a:pt x="822714" y="251278"/>
                  <a:pt x="825925" y="248732"/>
                  <a:pt x="827918" y="243490"/>
                </a:cubicBezTo>
                <a:lnTo>
                  <a:pt x="830428" y="237105"/>
                </a:lnTo>
                <a:close/>
                <a:moveTo>
                  <a:pt x="765707" y="189061"/>
                </a:moveTo>
                <a:lnTo>
                  <a:pt x="774122" y="189061"/>
                </a:lnTo>
                <a:lnTo>
                  <a:pt x="774122" y="237154"/>
                </a:lnTo>
                <a:lnTo>
                  <a:pt x="765707" y="237154"/>
                </a:lnTo>
                <a:close/>
                <a:moveTo>
                  <a:pt x="721518" y="189061"/>
                </a:moveTo>
                <a:lnTo>
                  <a:pt x="729933" y="189061"/>
                </a:lnTo>
                <a:lnTo>
                  <a:pt x="729933" y="237154"/>
                </a:lnTo>
                <a:lnTo>
                  <a:pt x="721518" y="237154"/>
                </a:lnTo>
                <a:close/>
                <a:moveTo>
                  <a:pt x="387645" y="189061"/>
                </a:moveTo>
                <a:lnTo>
                  <a:pt x="396060" y="189061"/>
                </a:lnTo>
                <a:lnTo>
                  <a:pt x="396060" y="237154"/>
                </a:lnTo>
                <a:lnTo>
                  <a:pt x="387645" y="237154"/>
                </a:lnTo>
                <a:close/>
                <a:moveTo>
                  <a:pt x="329908" y="189061"/>
                </a:moveTo>
                <a:lnTo>
                  <a:pt x="338323" y="189061"/>
                </a:lnTo>
                <a:lnTo>
                  <a:pt x="338323" y="237154"/>
                </a:lnTo>
                <a:lnTo>
                  <a:pt x="329908" y="237154"/>
                </a:lnTo>
                <a:close/>
                <a:moveTo>
                  <a:pt x="299154" y="188577"/>
                </a:moveTo>
                <a:cubicBezTo>
                  <a:pt x="305540" y="188577"/>
                  <a:pt x="310559" y="190791"/>
                  <a:pt x="314029" y="195183"/>
                </a:cubicBezTo>
                <a:cubicBezTo>
                  <a:pt x="317498" y="199502"/>
                  <a:pt x="319233" y="205666"/>
                  <a:pt x="319233" y="213417"/>
                </a:cubicBezTo>
                <a:cubicBezTo>
                  <a:pt x="319233" y="221241"/>
                  <a:pt x="317461" y="227405"/>
                  <a:pt x="313955" y="231760"/>
                </a:cubicBezTo>
                <a:cubicBezTo>
                  <a:pt x="310412" y="236153"/>
                  <a:pt x="305429" y="238367"/>
                  <a:pt x="299154" y="238367"/>
                </a:cubicBezTo>
                <a:cubicBezTo>
                  <a:pt x="296054" y="238367"/>
                  <a:pt x="293138" y="237777"/>
                  <a:pt x="290555" y="236632"/>
                </a:cubicBezTo>
                <a:cubicBezTo>
                  <a:pt x="288340" y="235636"/>
                  <a:pt x="286458" y="234196"/>
                  <a:pt x="284834" y="232351"/>
                </a:cubicBezTo>
                <a:cubicBezTo>
                  <a:pt x="285055" y="234529"/>
                  <a:pt x="285166" y="236632"/>
                  <a:pt x="285166" y="238589"/>
                </a:cubicBezTo>
                <a:lnTo>
                  <a:pt x="285166" y="258520"/>
                </a:lnTo>
                <a:lnTo>
                  <a:pt x="276751" y="258520"/>
                </a:lnTo>
                <a:lnTo>
                  <a:pt x="276751" y="189426"/>
                </a:lnTo>
                <a:lnTo>
                  <a:pt x="283763" y="189426"/>
                </a:lnTo>
                <a:lnTo>
                  <a:pt x="284649" y="195183"/>
                </a:lnTo>
                <a:cubicBezTo>
                  <a:pt x="286347" y="193006"/>
                  <a:pt x="288340" y="191382"/>
                  <a:pt x="290555" y="190348"/>
                </a:cubicBezTo>
                <a:cubicBezTo>
                  <a:pt x="293064" y="189167"/>
                  <a:pt x="295943" y="188577"/>
                  <a:pt x="299154" y="188577"/>
                </a:cubicBezTo>
                <a:close/>
                <a:moveTo>
                  <a:pt x="635259" y="188571"/>
                </a:moveTo>
                <a:cubicBezTo>
                  <a:pt x="641940" y="188571"/>
                  <a:pt x="647366" y="190822"/>
                  <a:pt x="651352" y="195325"/>
                </a:cubicBezTo>
                <a:cubicBezTo>
                  <a:pt x="655301" y="199754"/>
                  <a:pt x="657294" y="205844"/>
                  <a:pt x="657294" y="213410"/>
                </a:cubicBezTo>
                <a:cubicBezTo>
                  <a:pt x="657294" y="221198"/>
                  <a:pt x="655301" y="227325"/>
                  <a:pt x="651352" y="231717"/>
                </a:cubicBezTo>
                <a:cubicBezTo>
                  <a:pt x="647402" y="236146"/>
                  <a:pt x="641866" y="238361"/>
                  <a:pt x="634927" y="238361"/>
                </a:cubicBezTo>
                <a:cubicBezTo>
                  <a:pt x="630646" y="238361"/>
                  <a:pt x="626807" y="237364"/>
                  <a:pt x="623448" y="235334"/>
                </a:cubicBezTo>
                <a:cubicBezTo>
                  <a:pt x="620127" y="233304"/>
                  <a:pt x="617506" y="230352"/>
                  <a:pt x="615697" y="226587"/>
                </a:cubicBezTo>
                <a:cubicBezTo>
                  <a:pt x="613889" y="222859"/>
                  <a:pt x="613003" y="218430"/>
                  <a:pt x="613003" y="213410"/>
                </a:cubicBezTo>
                <a:cubicBezTo>
                  <a:pt x="613003" y="205659"/>
                  <a:pt x="614959" y="199533"/>
                  <a:pt x="618872" y="195177"/>
                </a:cubicBezTo>
                <a:cubicBezTo>
                  <a:pt x="622784" y="190785"/>
                  <a:pt x="628320" y="188571"/>
                  <a:pt x="635259" y="188571"/>
                </a:cubicBezTo>
                <a:close/>
                <a:moveTo>
                  <a:pt x="556052" y="188568"/>
                </a:moveTo>
                <a:cubicBezTo>
                  <a:pt x="563250" y="188568"/>
                  <a:pt x="568122" y="191078"/>
                  <a:pt x="570631" y="196060"/>
                </a:cubicBezTo>
                <a:cubicBezTo>
                  <a:pt x="572034" y="193883"/>
                  <a:pt x="574027" y="192111"/>
                  <a:pt x="576463" y="190782"/>
                </a:cubicBezTo>
                <a:cubicBezTo>
                  <a:pt x="579194" y="189306"/>
                  <a:pt x="582369" y="188568"/>
                  <a:pt x="585838" y="188568"/>
                </a:cubicBezTo>
                <a:cubicBezTo>
                  <a:pt x="591301" y="188568"/>
                  <a:pt x="595434" y="190007"/>
                  <a:pt x="598203" y="192849"/>
                </a:cubicBezTo>
                <a:cubicBezTo>
                  <a:pt x="600934" y="195691"/>
                  <a:pt x="602336" y="200231"/>
                  <a:pt x="602336" y="206358"/>
                </a:cubicBezTo>
                <a:lnTo>
                  <a:pt x="602336" y="237509"/>
                </a:lnTo>
                <a:lnTo>
                  <a:pt x="593921" y="237509"/>
                </a:lnTo>
                <a:lnTo>
                  <a:pt x="593921" y="206432"/>
                </a:lnTo>
                <a:cubicBezTo>
                  <a:pt x="593921" y="202889"/>
                  <a:pt x="593146" y="200231"/>
                  <a:pt x="591670" y="198496"/>
                </a:cubicBezTo>
                <a:cubicBezTo>
                  <a:pt x="590230" y="196798"/>
                  <a:pt x="587905" y="195950"/>
                  <a:pt x="584768" y="195950"/>
                </a:cubicBezTo>
                <a:cubicBezTo>
                  <a:pt x="580597" y="195950"/>
                  <a:pt x="577497" y="197131"/>
                  <a:pt x="575540" y="199493"/>
                </a:cubicBezTo>
                <a:cubicBezTo>
                  <a:pt x="573547" y="201892"/>
                  <a:pt x="572514" y="205657"/>
                  <a:pt x="572514" y="210750"/>
                </a:cubicBezTo>
                <a:lnTo>
                  <a:pt x="572514" y="237509"/>
                </a:lnTo>
                <a:lnTo>
                  <a:pt x="564098" y="237509"/>
                </a:lnTo>
                <a:lnTo>
                  <a:pt x="564098" y="206432"/>
                </a:lnTo>
                <a:cubicBezTo>
                  <a:pt x="564098" y="202889"/>
                  <a:pt x="563360" y="200231"/>
                  <a:pt x="561884" y="198496"/>
                </a:cubicBezTo>
                <a:cubicBezTo>
                  <a:pt x="560408" y="196798"/>
                  <a:pt x="558082" y="195950"/>
                  <a:pt x="554908" y="195950"/>
                </a:cubicBezTo>
                <a:cubicBezTo>
                  <a:pt x="550737" y="195950"/>
                  <a:pt x="547637" y="197204"/>
                  <a:pt x="545718" y="199641"/>
                </a:cubicBezTo>
                <a:cubicBezTo>
                  <a:pt x="543762" y="202187"/>
                  <a:pt x="542765" y="206432"/>
                  <a:pt x="542765" y="212300"/>
                </a:cubicBezTo>
                <a:lnTo>
                  <a:pt x="542765" y="237509"/>
                </a:lnTo>
                <a:lnTo>
                  <a:pt x="534313" y="237509"/>
                </a:lnTo>
                <a:lnTo>
                  <a:pt x="534313" y="189417"/>
                </a:lnTo>
                <a:lnTo>
                  <a:pt x="541326" y="189417"/>
                </a:lnTo>
                <a:lnTo>
                  <a:pt x="542359" y="195101"/>
                </a:lnTo>
                <a:cubicBezTo>
                  <a:pt x="543688" y="193218"/>
                  <a:pt x="545422" y="191705"/>
                  <a:pt x="547600" y="190561"/>
                </a:cubicBezTo>
                <a:cubicBezTo>
                  <a:pt x="550110" y="189232"/>
                  <a:pt x="552952" y="188568"/>
                  <a:pt x="556052" y="188568"/>
                </a:cubicBezTo>
                <a:close/>
                <a:moveTo>
                  <a:pt x="432906" y="188568"/>
                </a:moveTo>
                <a:cubicBezTo>
                  <a:pt x="438701" y="188568"/>
                  <a:pt x="443130" y="190007"/>
                  <a:pt x="446083" y="192812"/>
                </a:cubicBezTo>
                <a:cubicBezTo>
                  <a:pt x="449035" y="195654"/>
                  <a:pt x="450549" y="200194"/>
                  <a:pt x="450549" y="206358"/>
                </a:cubicBezTo>
                <a:lnTo>
                  <a:pt x="450549" y="237509"/>
                </a:lnTo>
                <a:lnTo>
                  <a:pt x="442133" y="237509"/>
                </a:lnTo>
                <a:lnTo>
                  <a:pt x="442133" y="206616"/>
                </a:lnTo>
                <a:cubicBezTo>
                  <a:pt x="442133" y="202999"/>
                  <a:pt x="441321" y="200268"/>
                  <a:pt x="439697" y="198533"/>
                </a:cubicBezTo>
                <a:cubicBezTo>
                  <a:pt x="438110" y="196798"/>
                  <a:pt x="435527" y="195950"/>
                  <a:pt x="432057" y="195950"/>
                </a:cubicBezTo>
                <a:cubicBezTo>
                  <a:pt x="427407" y="195950"/>
                  <a:pt x="423937" y="197204"/>
                  <a:pt x="421833" y="199677"/>
                </a:cubicBezTo>
                <a:cubicBezTo>
                  <a:pt x="419656" y="202187"/>
                  <a:pt x="418585" y="206432"/>
                  <a:pt x="418585" y="212300"/>
                </a:cubicBezTo>
                <a:lnTo>
                  <a:pt x="418585" y="237509"/>
                </a:lnTo>
                <a:lnTo>
                  <a:pt x="410133" y="237509"/>
                </a:lnTo>
                <a:lnTo>
                  <a:pt x="410133" y="189417"/>
                </a:lnTo>
                <a:lnTo>
                  <a:pt x="417146" y="189417"/>
                </a:lnTo>
                <a:lnTo>
                  <a:pt x="418179" y="195138"/>
                </a:lnTo>
                <a:cubicBezTo>
                  <a:pt x="419619" y="193218"/>
                  <a:pt x="421538" y="191668"/>
                  <a:pt x="423863" y="190524"/>
                </a:cubicBezTo>
                <a:cubicBezTo>
                  <a:pt x="426558" y="189232"/>
                  <a:pt x="429584" y="188568"/>
                  <a:pt x="432906" y="188568"/>
                </a:cubicBezTo>
                <a:close/>
                <a:moveTo>
                  <a:pt x="374373" y="188568"/>
                </a:moveTo>
                <a:cubicBezTo>
                  <a:pt x="376477" y="188568"/>
                  <a:pt x="378433" y="188752"/>
                  <a:pt x="380094" y="189084"/>
                </a:cubicBezTo>
                <a:lnTo>
                  <a:pt x="380721" y="189232"/>
                </a:lnTo>
                <a:lnTo>
                  <a:pt x="379540" y="197131"/>
                </a:lnTo>
                <a:lnTo>
                  <a:pt x="378839" y="196983"/>
                </a:lnTo>
                <a:cubicBezTo>
                  <a:pt x="376956" y="196577"/>
                  <a:pt x="375296" y="196356"/>
                  <a:pt x="373856" y="196356"/>
                </a:cubicBezTo>
                <a:cubicBezTo>
                  <a:pt x="370239" y="196356"/>
                  <a:pt x="367249" y="197795"/>
                  <a:pt x="364666" y="200748"/>
                </a:cubicBezTo>
                <a:cubicBezTo>
                  <a:pt x="362119" y="203664"/>
                  <a:pt x="360790" y="207391"/>
                  <a:pt x="360790" y="211747"/>
                </a:cubicBezTo>
                <a:lnTo>
                  <a:pt x="360790" y="237509"/>
                </a:lnTo>
                <a:lnTo>
                  <a:pt x="352375" y="237509"/>
                </a:lnTo>
                <a:lnTo>
                  <a:pt x="352375" y="189417"/>
                </a:lnTo>
                <a:lnTo>
                  <a:pt x="359498" y="189417"/>
                </a:lnTo>
                <a:lnTo>
                  <a:pt x="360237" y="197131"/>
                </a:lnTo>
                <a:cubicBezTo>
                  <a:pt x="361861" y="194621"/>
                  <a:pt x="363780" y="192628"/>
                  <a:pt x="365921" y="191151"/>
                </a:cubicBezTo>
                <a:cubicBezTo>
                  <a:pt x="368467" y="189454"/>
                  <a:pt x="371309" y="188568"/>
                  <a:pt x="374373" y="188568"/>
                </a:cubicBezTo>
                <a:close/>
                <a:moveTo>
                  <a:pt x="204203" y="188568"/>
                </a:moveTo>
                <a:cubicBezTo>
                  <a:pt x="209997" y="188568"/>
                  <a:pt x="214426" y="190007"/>
                  <a:pt x="217379" y="192812"/>
                </a:cubicBezTo>
                <a:cubicBezTo>
                  <a:pt x="220332" y="195654"/>
                  <a:pt x="221845" y="200194"/>
                  <a:pt x="221845" y="206358"/>
                </a:cubicBezTo>
                <a:lnTo>
                  <a:pt x="221845" y="237509"/>
                </a:lnTo>
                <a:lnTo>
                  <a:pt x="213430" y="237509"/>
                </a:lnTo>
                <a:lnTo>
                  <a:pt x="213430" y="206616"/>
                </a:lnTo>
                <a:cubicBezTo>
                  <a:pt x="213430" y="202999"/>
                  <a:pt x="212618" y="200268"/>
                  <a:pt x="210994" y="198533"/>
                </a:cubicBezTo>
                <a:cubicBezTo>
                  <a:pt x="209407" y="196798"/>
                  <a:pt x="206823" y="195950"/>
                  <a:pt x="203354" y="195950"/>
                </a:cubicBezTo>
                <a:cubicBezTo>
                  <a:pt x="198703" y="195950"/>
                  <a:pt x="195234" y="197204"/>
                  <a:pt x="193130" y="199677"/>
                </a:cubicBezTo>
                <a:cubicBezTo>
                  <a:pt x="190952" y="202187"/>
                  <a:pt x="189882" y="206432"/>
                  <a:pt x="189882" y="212300"/>
                </a:cubicBezTo>
                <a:lnTo>
                  <a:pt x="189882" y="237509"/>
                </a:lnTo>
                <a:lnTo>
                  <a:pt x="181430" y="237509"/>
                </a:lnTo>
                <a:lnTo>
                  <a:pt x="181430" y="189417"/>
                </a:lnTo>
                <a:lnTo>
                  <a:pt x="188442" y="189417"/>
                </a:lnTo>
                <a:lnTo>
                  <a:pt x="189476" y="195138"/>
                </a:lnTo>
                <a:cubicBezTo>
                  <a:pt x="190915" y="193218"/>
                  <a:pt x="192835" y="191668"/>
                  <a:pt x="195160" y="190524"/>
                </a:cubicBezTo>
                <a:cubicBezTo>
                  <a:pt x="197854" y="189232"/>
                  <a:pt x="200881" y="188568"/>
                  <a:pt x="204203" y="188568"/>
                </a:cubicBezTo>
                <a:close/>
                <a:moveTo>
                  <a:pt x="479924" y="188561"/>
                </a:moveTo>
                <a:cubicBezTo>
                  <a:pt x="482397" y="188561"/>
                  <a:pt x="484648" y="188856"/>
                  <a:pt x="486641" y="189410"/>
                </a:cubicBezTo>
                <a:lnTo>
                  <a:pt x="503361" y="189410"/>
                </a:lnTo>
                <a:lnTo>
                  <a:pt x="503361" y="195168"/>
                </a:lnTo>
                <a:lnTo>
                  <a:pt x="495241" y="196127"/>
                </a:lnTo>
                <a:cubicBezTo>
                  <a:pt x="495795" y="197013"/>
                  <a:pt x="496348" y="198046"/>
                  <a:pt x="496791" y="199264"/>
                </a:cubicBezTo>
                <a:cubicBezTo>
                  <a:pt x="497455" y="200925"/>
                  <a:pt x="497788" y="202845"/>
                  <a:pt x="497788" y="204948"/>
                </a:cubicBezTo>
                <a:cubicBezTo>
                  <a:pt x="497788" y="209710"/>
                  <a:pt x="496127" y="213548"/>
                  <a:pt x="492842" y="216390"/>
                </a:cubicBezTo>
                <a:cubicBezTo>
                  <a:pt x="489631" y="219232"/>
                  <a:pt x="485128" y="220672"/>
                  <a:pt x="479518" y="220672"/>
                </a:cubicBezTo>
                <a:cubicBezTo>
                  <a:pt x="478189" y="220672"/>
                  <a:pt x="476897" y="220561"/>
                  <a:pt x="475716" y="220340"/>
                </a:cubicBezTo>
                <a:cubicBezTo>
                  <a:pt x="473059" y="221816"/>
                  <a:pt x="471767" y="223551"/>
                  <a:pt x="471767" y="225654"/>
                </a:cubicBezTo>
                <a:cubicBezTo>
                  <a:pt x="471767" y="226725"/>
                  <a:pt x="472173" y="227426"/>
                  <a:pt x="473022" y="227906"/>
                </a:cubicBezTo>
                <a:cubicBezTo>
                  <a:pt x="473944" y="228460"/>
                  <a:pt x="475642" y="228755"/>
                  <a:pt x="478078" y="228755"/>
                </a:cubicBezTo>
                <a:lnTo>
                  <a:pt x="486346" y="228755"/>
                </a:lnTo>
                <a:cubicBezTo>
                  <a:pt x="491550" y="228755"/>
                  <a:pt x="495610" y="229862"/>
                  <a:pt x="498452" y="232077"/>
                </a:cubicBezTo>
                <a:cubicBezTo>
                  <a:pt x="501331" y="234328"/>
                  <a:pt x="502770" y="237650"/>
                  <a:pt x="502770" y="241931"/>
                </a:cubicBezTo>
                <a:cubicBezTo>
                  <a:pt x="502770" y="247320"/>
                  <a:pt x="500556" y="251491"/>
                  <a:pt x="496237" y="254333"/>
                </a:cubicBezTo>
                <a:cubicBezTo>
                  <a:pt x="491993" y="257101"/>
                  <a:pt x="485755" y="258504"/>
                  <a:pt x="477709" y="258504"/>
                </a:cubicBezTo>
                <a:cubicBezTo>
                  <a:pt x="471471" y="258504"/>
                  <a:pt x="466599" y="257323"/>
                  <a:pt x="463167" y="254960"/>
                </a:cubicBezTo>
                <a:cubicBezTo>
                  <a:pt x="459697" y="252561"/>
                  <a:pt x="457926" y="249129"/>
                  <a:pt x="457926" y="244773"/>
                </a:cubicBezTo>
                <a:cubicBezTo>
                  <a:pt x="457926" y="241784"/>
                  <a:pt x="458885" y="239126"/>
                  <a:pt x="460805" y="236949"/>
                </a:cubicBezTo>
                <a:cubicBezTo>
                  <a:pt x="462429" y="235103"/>
                  <a:pt x="464569" y="233774"/>
                  <a:pt x="467264" y="232926"/>
                </a:cubicBezTo>
                <a:cubicBezTo>
                  <a:pt x="466599" y="232409"/>
                  <a:pt x="465972" y="231781"/>
                  <a:pt x="465455" y="231043"/>
                </a:cubicBezTo>
                <a:cubicBezTo>
                  <a:pt x="464533" y="229788"/>
                  <a:pt x="464090" y="228349"/>
                  <a:pt x="464090" y="226688"/>
                </a:cubicBezTo>
                <a:cubicBezTo>
                  <a:pt x="464090" y="224842"/>
                  <a:pt x="464606" y="223218"/>
                  <a:pt x="465603" y="221816"/>
                </a:cubicBezTo>
                <a:cubicBezTo>
                  <a:pt x="466378" y="220709"/>
                  <a:pt x="467522" y="219638"/>
                  <a:pt x="469072" y="218605"/>
                </a:cubicBezTo>
                <a:cubicBezTo>
                  <a:pt x="467042" y="217498"/>
                  <a:pt x="465308" y="215910"/>
                  <a:pt x="463979" y="213770"/>
                </a:cubicBezTo>
                <a:cubicBezTo>
                  <a:pt x="462392" y="211297"/>
                  <a:pt x="461580" y="208418"/>
                  <a:pt x="461580" y="205244"/>
                </a:cubicBezTo>
                <a:cubicBezTo>
                  <a:pt x="461580" y="199929"/>
                  <a:pt x="463204" y="195795"/>
                  <a:pt x="466415" y="192879"/>
                </a:cubicBezTo>
                <a:cubicBezTo>
                  <a:pt x="469589" y="190037"/>
                  <a:pt x="474129" y="188561"/>
                  <a:pt x="479924" y="188561"/>
                </a:cubicBezTo>
                <a:close/>
                <a:moveTo>
                  <a:pt x="250154" y="188559"/>
                </a:moveTo>
                <a:cubicBezTo>
                  <a:pt x="255247" y="188559"/>
                  <a:pt x="260304" y="189630"/>
                  <a:pt x="265176" y="191697"/>
                </a:cubicBezTo>
                <a:lnTo>
                  <a:pt x="265803" y="191955"/>
                </a:lnTo>
                <a:lnTo>
                  <a:pt x="262740" y="198931"/>
                </a:lnTo>
                <a:lnTo>
                  <a:pt x="262112" y="198709"/>
                </a:lnTo>
                <a:cubicBezTo>
                  <a:pt x="257536" y="196790"/>
                  <a:pt x="253328" y="195830"/>
                  <a:pt x="249637" y="195830"/>
                </a:cubicBezTo>
                <a:cubicBezTo>
                  <a:pt x="246426" y="195830"/>
                  <a:pt x="243990" y="196347"/>
                  <a:pt x="242403" y="197307"/>
                </a:cubicBezTo>
                <a:cubicBezTo>
                  <a:pt x="240890" y="198266"/>
                  <a:pt x="240151" y="199484"/>
                  <a:pt x="240151" y="201108"/>
                </a:cubicBezTo>
                <a:cubicBezTo>
                  <a:pt x="240151" y="202216"/>
                  <a:pt x="240447" y="203138"/>
                  <a:pt x="241000" y="203914"/>
                </a:cubicBezTo>
                <a:cubicBezTo>
                  <a:pt x="241591" y="204689"/>
                  <a:pt x="242551" y="205464"/>
                  <a:pt x="243879" y="206239"/>
                </a:cubicBezTo>
                <a:cubicBezTo>
                  <a:pt x="245245" y="206977"/>
                  <a:pt x="247976" y="208158"/>
                  <a:pt x="251962" y="209634"/>
                </a:cubicBezTo>
                <a:cubicBezTo>
                  <a:pt x="257646" y="211701"/>
                  <a:pt x="261411" y="213768"/>
                  <a:pt x="263441" y="215909"/>
                </a:cubicBezTo>
                <a:cubicBezTo>
                  <a:pt x="265508" y="218087"/>
                  <a:pt x="266578" y="220818"/>
                  <a:pt x="266578" y="224103"/>
                </a:cubicBezTo>
                <a:cubicBezTo>
                  <a:pt x="266578" y="228643"/>
                  <a:pt x="264844" y="232223"/>
                  <a:pt x="261411" y="234696"/>
                </a:cubicBezTo>
                <a:cubicBezTo>
                  <a:pt x="258089" y="237132"/>
                  <a:pt x="253365" y="238387"/>
                  <a:pt x="247386" y="238387"/>
                </a:cubicBezTo>
                <a:cubicBezTo>
                  <a:pt x="241074" y="238387"/>
                  <a:pt x="236091" y="237353"/>
                  <a:pt x="232548" y="235323"/>
                </a:cubicBezTo>
                <a:lnTo>
                  <a:pt x="232216" y="235139"/>
                </a:lnTo>
                <a:lnTo>
                  <a:pt x="232216" y="227092"/>
                </a:lnTo>
                <a:lnTo>
                  <a:pt x="233176" y="227572"/>
                </a:lnTo>
                <a:cubicBezTo>
                  <a:pt x="235353" y="228680"/>
                  <a:pt x="237752" y="229565"/>
                  <a:pt x="240262" y="230230"/>
                </a:cubicBezTo>
                <a:cubicBezTo>
                  <a:pt x="242772" y="230857"/>
                  <a:pt x="245208" y="231189"/>
                  <a:pt x="247533" y="231189"/>
                </a:cubicBezTo>
                <a:cubicBezTo>
                  <a:pt x="251113" y="231189"/>
                  <a:pt x="253845" y="230599"/>
                  <a:pt x="255727" y="229492"/>
                </a:cubicBezTo>
                <a:cubicBezTo>
                  <a:pt x="257536" y="228421"/>
                  <a:pt x="258385" y="226871"/>
                  <a:pt x="258385" y="224693"/>
                </a:cubicBezTo>
                <a:cubicBezTo>
                  <a:pt x="258385" y="223069"/>
                  <a:pt x="257683" y="221704"/>
                  <a:pt x="256281" y="220523"/>
                </a:cubicBezTo>
                <a:cubicBezTo>
                  <a:pt x="254731" y="219305"/>
                  <a:pt x="251704" y="217791"/>
                  <a:pt x="247201" y="216057"/>
                </a:cubicBezTo>
                <a:cubicBezTo>
                  <a:pt x="242772" y="214396"/>
                  <a:pt x="239709" y="212993"/>
                  <a:pt x="237826" y="211738"/>
                </a:cubicBezTo>
                <a:cubicBezTo>
                  <a:pt x="235907" y="210483"/>
                  <a:pt x="234467" y="209044"/>
                  <a:pt x="233508" y="207420"/>
                </a:cubicBezTo>
                <a:cubicBezTo>
                  <a:pt x="232548" y="205759"/>
                  <a:pt x="232068" y="203803"/>
                  <a:pt x="232068" y="201551"/>
                </a:cubicBezTo>
                <a:cubicBezTo>
                  <a:pt x="232068" y="197528"/>
                  <a:pt x="233729" y="194317"/>
                  <a:pt x="237014" y="191992"/>
                </a:cubicBezTo>
                <a:cubicBezTo>
                  <a:pt x="240188" y="189703"/>
                  <a:pt x="244617" y="188559"/>
                  <a:pt x="250154" y="188559"/>
                </a:cubicBezTo>
                <a:close/>
                <a:moveTo>
                  <a:pt x="791869" y="178562"/>
                </a:moveTo>
                <a:lnTo>
                  <a:pt x="797147" y="178562"/>
                </a:lnTo>
                <a:lnTo>
                  <a:pt x="797147" y="189414"/>
                </a:lnTo>
                <a:lnTo>
                  <a:pt x="810693" y="189414"/>
                </a:lnTo>
                <a:lnTo>
                  <a:pt x="810693" y="196279"/>
                </a:lnTo>
                <a:lnTo>
                  <a:pt x="797147" y="196279"/>
                </a:lnTo>
                <a:lnTo>
                  <a:pt x="797147" y="223112"/>
                </a:lnTo>
                <a:cubicBezTo>
                  <a:pt x="797147" y="225732"/>
                  <a:pt x="797737" y="227762"/>
                  <a:pt x="798955" y="229128"/>
                </a:cubicBezTo>
                <a:cubicBezTo>
                  <a:pt x="800173" y="230494"/>
                  <a:pt x="801797" y="231158"/>
                  <a:pt x="803975" y="231158"/>
                </a:cubicBezTo>
                <a:cubicBezTo>
                  <a:pt x="805193" y="231158"/>
                  <a:pt x="806374" y="231084"/>
                  <a:pt x="807481" y="230900"/>
                </a:cubicBezTo>
                <a:cubicBezTo>
                  <a:pt x="808589" y="230715"/>
                  <a:pt x="809511" y="230531"/>
                  <a:pt x="810176" y="230346"/>
                </a:cubicBezTo>
                <a:lnTo>
                  <a:pt x="811025" y="230088"/>
                </a:lnTo>
                <a:lnTo>
                  <a:pt x="811025" y="236842"/>
                </a:lnTo>
                <a:lnTo>
                  <a:pt x="810656" y="237027"/>
                </a:lnTo>
                <a:cubicBezTo>
                  <a:pt x="809807" y="237433"/>
                  <a:pt x="808663" y="237728"/>
                  <a:pt x="807075" y="237986"/>
                </a:cubicBezTo>
                <a:cubicBezTo>
                  <a:pt x="805562" y="238245"/>
                  <a:pt x="804160" y="238355"/>
                  <a:pt x="802942" y="238355"/>
                </a:cubicBezTo>
                <a:cubicBezTo>
                  <a:pt x="793493" y="238355"/>
                  <a:pt x="788695" y="233336"/>
                  <a:pt x="788695" y="223407"/>
                </a:cubicBezTo>
                <a:lnTo>
                  <a:pt x="788695" y="196279"/>
                </a:lnTo>
                <a:lnTo>
                  <a:pt x="782014" y="196279"/>
                </a:lnTo>
                <a:lnTo>
                  <a:pt x="782014" y="191739"/>
                </a:lnTo>
                <a:lnTo>
                  <a:pt x="788805" y="188749"/>
                </a:lnTo>
                <a:close/>
                <a:moveTo>
                  <a:pt x="157766" y="173425"/>
                </a:moveTo>
                <a:lnTo>
                  <a:pt x="166366" y="173425"/>
                </a:lnTo>
                <a:lnTo>
                  <a:pt x="166366" y="237131"/>
                </a:lnTo>
                <a:lnTo>
                  <a:pt x="157766" y="237131"/>
                </a:lnTo>
                <a:close/>
                <a:moveTo>
                  <a:pt x="770346" y="172053"/>
                </a:moveTo>
                <a:cubicBezTo>
                  <a:pt x="771638" y="172053"/>
                  <a:pt x="772782" y="172496"/>
                  <a:pt x="773742" y="173382"/>
                </a:cubicBezTo>
                <a:cubicBezTo>
                  <a:pt x="774701" y="174268"/>
                  <a:pt x="775218" y="175633"/>
                  <a:pt x="775218" y="177405"/>
                </a:cubicBezTo>
                <a:cubicBezTo>
                  <a:pt x="775218" y="179214"/>
                  <a:pt x="774701" y="180542"/>
                  <a:pt x="773742" y="181465"/>
                </a:cubicBezTo>
                <a:cubicBezTo>
                  <a:pt x="772819" y="182388"/>
                  <a:pt x="771675" y="182831"/>
                  <a:pt x="770346" y="182831"/>
                </a:cubicBezTo>
                <a:cubicBezTo>
                  <a:pt x="768980" y="182831"/>
                  <a:pt x="767799" y="182388"/>
                  <a:pt x="766876" y="181465"/>
                </a:cubicBezTo>
                <a:cubicBezTo>
                  <a:pt x="765954" y="180542"/>
                  <a:pt x="765474" y="179177"/>
                  <a:pt x="765474" y="177405"/>
                </a:cubicBezTo>
                <a:cubicBezTo>
                  <a:pt x="765474" y="175596"/>
                  <a:pt x="765954" y="174268"/>
                  <a:pt x="766913" y="173382"/>
                </a:cubicBezTo>
                <a:cubicBezTo>
                  <a:pt x="767799" y="172496"/>
                  <a:pt x="768980" y="172053"/>
                  <a:pt x="770346" y="172053"/>
                </a:cubicBezTo>
                <a:close/>
                <a:moveTo>
                  <a:pt x="726156" y="172053"/>
                </a:moveTo>
                <a:cubicBezTo>
                  <a:pt x="727448" y="172053"/>
                  <a:pt x="728592" y="172496"/>
                  <a:pt x="729552" y="173382"/>
                </a:cubicBezTo>
                <a:cubicBezTo>
                  <a:pt x="730511" y="174268"/>
                  <a:pt x="731028" y="175633"/>
                  <a:pt x="731028" y="177405"/>
                </a:cubicBezTo>
                <a:cubicBezTo>
                  <a:pt x="731028" y="179214"/>
                  <a:pt x="730511" y="180542"/>
                  <a:pt x="729552" y="181465"/>
                </a:cubicBezTo>
                <a:cubicBezTo>
                  <a:pt x="728629" y="182388"/>
                  <a:pt x="727485" y="182831"/>
                  <a:pt x="726156" y="182831"/>
                </a:cubicBezTo>
                <a:cubicBezTo>
                  <a:pt x="724790" y="182831"/>
                  <a:pt x="723609" y="182388"/>
                  <a:pt x="722686" y="181465"/>
                </a:cubicBezTo>
                <a:cubicBezTo>
                  <a:pt x="721764" y="180542"/>
                  <a:pt x="721284" y="179177"/>
                  <a:pt x="721284" y="177405"/>
                </a:cubicBezTo>
                <a:cubicBezTo>
                  <a:pt x="721284" y="175596"/>
                  <a:pt x="721764" y="174268"/>
                  <a:pt x="722723" y="173382"/>
                </a:cubicBezTo>
                <a:cubicBezTo>
                  <a:pt x="723609" y="172496"/>
                  <a:pt x="724790" y="172053"/>
                  <a:pt x="726156" y="172053"/>
                </a:cubicBezTo>
                <a:close/>
                <a:moveTo>
                  <a:pt x="392294" y="172053"/>
                </a:moveTo>
                <a:cubicBezTo>
                  <a:pt x="393585" y="172053"/>
                  <a:pt x="394730" y="172496"/>
                  <a:pt x="395689" y="173382"/>
                </a:cubicBezTo>
                <a:cubicBezTo>
                  <a:pt x="396649" y="174268"/>
                  <a:pt x="397166" y="175633"/>
                  <a:pt x="397166" y="177405"/>
                </a:cubicBezTo>
                <a:cubicBezTo>
                  <a:pt x="397166" y="179214"/>
                  <a:pt x="396649" y="180579"/>
                  <a:pt x="395689" y="181465"/>
                </a:cubicBezTo>
                <a:cubicBezTo>
                  <a:pt x="394766" y="182388"/>
                  <a:pt x="393585" y="182831"/>
                  <a:pt x="392294" y="182831"/>
                </a:cubicBezTo>
                <a:cubicBezTo>
                  <a:pt x="390928" y="182831"/>
                  <a:pt x="389747" y="182388"/>
                  <a:pt x="388824" y="181465"/>
                </a:cubicBezTo>
                <a:cubicBezTo>
                  <a:pt x="387901" y="180542"/>
                  <a:pt x="387422" y="179177"/>
                  <a:pt x="387422" y="177405"/>
                </a:cubicBezTo>
                <a:cubicBezTo>
                  <a:pt x="387422" y="175596"/>
                  <a:pt x="387901" y="174268"/>
                  <a:pt x="388824" y="173382"/>
                </a:cubicBezTo>
                <a:cubicBezTo>
                  <a:pt x="389747" y="172496"/>
                  <a:pt x="390928" y="172053"/>
                  <a:pt x="392294" y="172053"/>
                </a:cubicBezTo>
                <a:close/>
                <a:moveTo>
                  <a:pt x="334530" y="172053"/>
                </a:moveTo>
                <a:cubicBezTo>
                  <a:pt x="335821" y="172053"/>
                  <a:pt x="336966" y="172496"/>
                  <a:pt x="337925" y="173382"/>
                </a:cubicBezTo>
                <a:cubicBezTo>
                  <a:pt x="338885" y="174268"/>
                  <a:pt x="339402" y="175633"/>
                  <a:pt x="339402" y="177405"/>
                </a:cubicBezTo>
                <a:cubicBezTo>
                  <a:pt x="339402" y="179214"/>
                  <a:pt x="338885" y="180579"/>
                  <a:pt x="337925" y="181465"/>
                </a:cubicBezTo>
                <a:cubicBezTo>
                  <a:pt x="337002" y="182388"/>
                  <a:pt x="335821" y="182831"/>
                  <a:pt x="334530" y="182831"/>
                </a:cubicBezTo>
                <a:cubicBezTo>
                  <a:pt x="333164" y="182831"/>
                  <a:pt x="331983" y="182388"/>
                  <a:pt x="331060" y="181465"/>
                </a:cubicBezTo>
                <a:cubicBezTo>
                  <a:pt x="330137" y="180542"/>
                  <a:pt x="329658" y="179177"/>
                  <a:pt x="329658" y="177405"/>
                </a:cubicBezTo>
                <a:cubicBezTo>
                  <a:pt x="329658" y="175596"/>
                  <a:pt x="330137" y="174268"/>
                  <a:pt x="331060" y="173382"/>
                </a:cubicBezTo>
                <a:cubicBezTo>
                  <a:pt x="331983" y="172496"/>
                  <a:pt x="333164" y="172053"/>
                  <a:pt x="334530" y="172053"/>
                </a:cubicBezTo>
                <a:close/>
                <a:moveTo>
                  <a:pt x="668356" y="169796"/>
                </a:moveTo>
                <a:lnTo>
                  <a:pt x="676808" y="169796"/>
                </a:lnTo>
                <a:lnTo>
                  <a:pt x="676808" y="186590"/>
                </a:lnTo>
                <a:cubicBezTo>
                  <a:pt x="676808" y="189506"/>
                  <a:pt x="676734" y="192200"/>
                  <a:pt x="676586" y="194636"/>
                </a:cubicBezTo>
                <a:cubicBezTo>
                  <a:pt x="679945" y="190650"/>
                  <a:pt x="684743" y="188657"/>
                  <a:pt x="690796" y="188657"/>
                </a:cubicBezTo>
                <a:cubicBezTo>
                  <a:pt x="697108" y="188657"/>
                  <a:pt x="702091" y="190835"/>
                  <a:pt x="705634" y="195190"/>
                </a:cubicBezTo>
                <a:cubicBezTo>
                  <a:pt x="709103" y="199471"/>
                  <a:pt x="710875" y="205635"/>
                  <a:pt x="710875" y="213423"/>
                </a:cubicBezTo>
                <a:cubicBezTo>
                  <a:pt x="710875" y="221211"/>
                  <a:pt x="709103" y="227375"/>
                  <a:pt x="705597" y="231730"/>
                </a:cubicBezTo>
                <a:cubicBezTo>
                  <a:pt x="702017" y="236122"/>
                  <a:pt x="697071" y="238374"/>
                  <a:pt x="690796" y="238374"/>
                </a:cubicBezTo>
                <a:cubicBezTo>
                  <a:pt x="687659" y="238374"/>
                  <a:pt x="684780" y="237783"/>
                  <a:pt x="682160" y="236639"/>
                </a:cubicBezTo>
                <a:cubicBezTo>
                  <a:pt x="679798" y="235568"/>
                  <a:pt x="677731" y="233944"/>
                  <a:pt x="676033" y="231841"/>
                </a:cubicBezTo>
                <a:lnTo>
                  <a:pt x="674630" y="237525"/>
                </a:lnTo>
                <a:lnTo>
                  <a:pt x="668356" y="237525"/>
                </a:lnTo>
                <a:close/>
                <a:moveTo>
                  <a:pt x="743594" y="169394"/>
                </a:moveTo>
                <a:lnTo>
                  <a:pt x="752009" y="169394"/>
                </a:lnTo>
                <a:lnTo>
                  <a:pt x="752009" y="237122"/>
                </a:lnTo>
                <a:lnTo>
                  <a:pt x="743594" y="237122"/>
                </a:lnTo>
                <a:close/>
                <a:moveTo>
                  <a:pt x="778181" y="31202"/>
                </a:moveTo>
                <a:lnTo>
                  <a:pt x="754043" y="79664"/>
                </a:lnTo>
                <a:lnTo>
                  <a:pt x="802099" y="79664"/>
                </a:lnTo>
                <a:close/>
                <a:moveTo>
                  <a:pt x="357471" y="30700"/>
                </a:moveTo>
                <a:lnTo>
                  <a:pt x="357471" y="58973"/>
                </a:lnTo>
                <a:lnTo>
                  <a:pt x="412761" y="58973"/>
                </a:lnTo>
                <a:cubicBezTo>
                  <a:pt x="430292" y="58973"/>
                  <a:pt x="433946" y="51259"/>
                  <a:pt x="433946" y="44836"/>
                </a:cubicBezTo>
                <a:cubicBezTo>
                  <a:pt x="433946" y="38377"/>
                  <a:pt x="430292" y="30700"/>
                  <a:pt x="412761" y="30700"/>
                </a:cubicBezTo>
                <a:close/>
                <a:moveTo>
                  <a:pt x="224799" y="24987"/>
                </a:moveTo>
                <a:cubicBezTo>
                  <a:pt x="218008" y="24987"/>
                  <a:pt x="211955" y="25541"/>
                  <a:pt x="206824" y="26611"/>
                </a:cubicBezTo>
                <a:cubicBezTo>
                  <a:pt x="201657" y="27682"/>
                  <a:pt x="197080" y="29158"/>
                  <a:pt x="193315" y="31077"/>
                </a:cubicBezTo>
                <a:cubicBezTo>
                  <a:pt x="189514" y="32960"/>
                  <a:pt x="186266" y="35211"/>
                  <a:pt x="183682" y="37758"/>
                </a:cubicBezTo>
                <a:cubicBezTo>
                  <a:pt x="181099" y="40342"/>
                  <a:pt x="178995" y="43110"/>
                  <a:pt x="177481" y="46026"/>
                </a:cubicBezTo>
                <a:cubicBezTo>
                  <a:pt x="175931" y="48941"/>
                  <a:pt x="174824" y="52042"/>
                  <a:pt x="174196" y="55216"/>
                </a:cubicBezTo>
                <a:cubicBezTo>
                  <a:pt x="173532" y="58353"/>
                  <a:pt x="173237" y="61490"/>
                  <a:pt x="173237" y="64554"/>
                </a:cubicBezTo>
                <a:cubicBezTo>
                  <a:pt x="173237" y="67654"/>
                  <a:pt x="173532" y="70865"/>
                  <a:pt x="174196" y="74040"/>
                </a:cubicBezTo>
                <a:cubicBezTo>
                  <a:pt x="174824" y="77251"/>
                  <a:pt x="175931" y="80351"/>
                  <a:pt x="177481" y="83267"/>
                </a:cubicBezTo>
                <a:cubicBezTo>
                  <a:pt x="178995" y="86183"/>
                  <a:pt x="181099" y="88951"/>
                  <a:pt x="183682" y="91461"/>
                </a:cubicBezTo>
                <a:cubicBezTo>
                  <a:pt x="186266" y="94007"/>
                  <a:pt x="189514" y="96222"/>
                  <a:pt x="193315" y="98104"/>
                </a:cubicBezTo>
                <a:cubicBezTo>
                  <a:pt x="197117" y="99950"/>
                  <a:pt x="201657" y="101426"/>
                  <a:pt x="206824" y="102497"/>
                </a:cubicBezTo>
                <a:cubicBezTo>
                  <a:pt x="211955" y="103567"/>
                  <a:pt x="218008" y="104084"/>
                  <a:pt x="224799" y="104084"/>
                </a:cubicBezTo>
                <a:cubicBezTo>
                  <a:pt x="234912" y="104084"/>
                  <a:pt x="243401" y="102939"/>
                  <a:pt x="249934" y="100614"/>
                </a:cubicBezTo>
                <a:cubicBezTo>
                  <a:pt x="256541" y="98289"/>
                  <a:pt x="261856" y="95225"/>
                  <a:pt x="265694" y="91461"/>
                </a:cubicBezTo>
                <a:cubicBezTo>
                  <a:pt x="269533" y="87733"/>
                  <a:pt x="272227" y="83415"/>
                  <a:pt x="273777" y="78690"/>
                </a:cubicBezTo>
                <a:cubicBezTo>
                  <a:pt x="275254" y="74003"/>
                  <a:pt x="276029" y="69241"/>
                  <a:pt x="276029" y="64554"/>
                </a:cubicBezTo>
                <a:cubicBezTo>
                  <a:pt x="276029" y="59830"/>
                  <a:pt x="275254" y="55068"/>
                  <a:pt x="273777" y="50418"/>
                </a:cubicBezTo>
                <a:cubicBezTo>
                  <a:pt x="272264" y="45693"/>
                  <a:pt x="269533" y="41375"/>
                  <a:pt x="265694" y="37647"/>
                </a:cubicBezTo>
                <a:cubicBezTo>
                  <a:pt x="261856" y="33882"/>
                  <a:pt x="256541" y="30819"/>
                  <a:pt x="249934" y="28494"/>
                </a:cubicBezTo>
                <a:cubicBezTo>
                  <a:pt x="243364" y="26168"/>
                  <a:pt x="234912" y="24987"/>
                  <a:pt x="224799" y="24987"/>
                </a:cubicBezTo>
                <a:close/>
                <a:moveTo>
                  <a:pt x="9043" y="3354"/>
                </a:moveTo>
                <a:lnTo>
                  <a:pt x="133021" y="3428"/>
                </a:lnTo>
                <a:cubicBezTo>
                  <a:pt x="135494" y="3428"/>
                  <a:pt x="137487" y="5421"/>
                  <a:pt x="137487" y="7894"/>
                </a:cubicBezTo>
                <a:lnTo>
                  <a:pt x="137487" y="29191"/>
                </a:lnTo>
                <a:cubicBezTo>
                  <a:pt x="137487" y="30150"/>
                  <a:pt x="136712" y="30925"/>
                  <a:pt x="135752" y="30925"/>
                </a:cubicBezTo>
                <a:lnTo>
                  <a:pt x="31816" y="30888"/>
                </a:lnTo>
                <a:cubicBezTo>
                  <a:pt x="31816" y="36314"/>
                  <a:pt x="30967" y="37790"/>
                  <a:pt x="43258" y="38861"/>
                </a:cubicBezTo>
                <a:cubicBezTo>
                  <a:pt x="52744" y="39673"/>
                  <a:pt x="83231" y="42183"/>
                  <a:pt x="102202" y="44028"/>
                </a:cubicBezTo>
                <a:cubicBezTo>
                  <a:pt x="125934" y="46353"/>
                  <a:pt x="125971" y="83742"/>
                  <a:pt x="102276" y="86068"/>
                </a:cubicBezTo>
                <a:cubicBezTo>
                  <a:pt x="83304" y="87950"/>
                  <a:pt x="54257" y="90164"/>
                  <a:pt x="46026" y="90976"/>
                </a:cubicBezTo>
                <a:cubicBezTo>
                  <a:pt x="37795" y="91788"/>
                  <a:pt x="31853" y="93892"/>
                  <a:pt x="31853" y="99096"/>
                </a:cubicBezTo>
                <a:lnTo>
                  <a:pt x="31853" y="124084"/>
                </a:lnTo>
                <a:cubicBezTo>
                  <a:pt x="31853" y="125044"/>
                  <a:pt x="31078" y="125819"/>
                  <a:pt x="30118" y="125819"/>
                </a:cubicBezTo>
                <a:lnTo>
                  <a:pt x="4466" y="125819"/>
                </a:lnTo>
                <a:cubicBezTo>
                  <a:pt x="1993" y="125819"/>
                  <a:pt x="0" y="123826"/>
                  <a:pt x="0" y="121353"/>
                </a:cubicBezTo>
                <a:lnTo>
                  <a:pt x="37" y="91050"/>
                </a:lnTo>
                <a:cubicBezTo>
                  <a:pt x="37" y="83262"/>
                  <a:pt x="1735" y="74146"/>
                  <a:pt x="12107" y="72522"/>
                </a:cubicBezTo>
                <a:cubicBezTo>
                  <a:pt x="22441" y="70898"/>
                  <a:pt x="86442" y="67834"/>
                  <a:pt x="86442" y="67834"/>
                </a:cubicBezTo>
                <a:cubicBezTo>
                  <a:pt x="88361" y="66912"/>
                  <a:pt x="88324" y="64365"/>
                  <a:pt x="86405" y="63442"/>
                </a:cubicBezTo>
                <a:cubicBezTo>
                  <a:pt x="86405" y="63442"/>
                  <a:pt x="24102" y="61006"/>
                  <a:pt x="12623" y="59308"/>
                </a:cubicBezTo>
                <a:cubicBezTo>
                  <a:pt x="1145" y="57611"/>
                  <a:pt x="185" y="48457"/>
                  <a:pt x="222" y="40522"/>
                </a:cubicBezTo>
                <a:lnTo>
                  <a:pt x="185" y="11843"/>
                </a:lnTo>
                <a:cubicBezTo>
                  <a:pt x="222" y="7156"/>
                  <a:pt x="4208" y="3354"/>
                  <a:pt x="9043" y="3354"/>
                </a:cubicBezTo>
                <a:close/>
                <a:moveTo>
                  <a:pt x="472750" y="3281"/>
                </a:moveTo>
                <a:lnTo>
                  <a:pt x="504233" y="3281"/>
                </a:lnTo>
                <a:cubicBezTo>
                  <a:pt x="505710" y="3281"/>
                  <a:pt x="507075" y="4130"/>
                  <a:pt x="507703" y="5459"/>
                </a:cubicBezTo>
                <a:lnTo>
                  <a:pt x="553618" y="97768"/>
                </a:lnTo>
                <a:lnTo>
                  <a:pt x="599164" y="5459"/>
                </a:lnTo>
                <a:cubicBezTo>
                  <a:pt x="599828" y="4130"/>
                  <a:pt x="601157" y="3281"/>
                  <a:pt x="602633" y="3281"/>
                </a:cubicBezTo>
                <a:lnTo>
                  <a:pt x="634117" y="3281"/>
                </a:lnTo>
                <a:cubicBezTo>
                  <a:pt x="634855" y="3281"/>
                  <a:pt x="635335" y="4093"/>
                  <a:pt x="634966" y="4720"/>
                </a:cubicBezTo>
                <a:lnTo>
                  <a:pt x="572737" y="123679"/>
                </a:lnTo>
                <a:cubicBezTo>
                  <a:pt x="572035" y="124970"/>
                  <a:pt x="570707" y="125782"/>
                  <a:pt x="569267" y="125782"/>
                </a:cubicBezTo>
                <a:lnTo>
                  <a:pt x="541954" y="125782"/>
                </a:lnTo>
                <a:cubicBezTo>
                  <a:pt x="537821" y="125782"/>
                  <a:pt x="534019" y="123494"/>
                  <a:pt x="532100" y="119840"/>
                </a:cubicBezTo>
                <a:lnTo>
                  <a:pt x="471901" y="4720"/>
                </a:lnTo>
                <a:cubicBezTo>
                  <a:pt x="471532" y="4093"/>
                  <a:pt x="472012" y="3281"/>
                  <a:pt x="472750" y="3281"/>
                </a:cubicBezTo>
                <a:close/>
                <a:moveTo>
                  <a:pt x="659165" y="3215"/>
                </a:moveTo>
                <a:lnTo>
                  <a:pt x="677472" y="3215"/>
                </a:lnTo>
                <a:cubicBezTo>
                  <a:pt x="679612" y="3215"/>
                  <a:pt x="681347" y="4949"/>
                  <a:pt x="681347" y="7090"/>
                </a:cubicBezTo>
                <a:lnTo>
                  <a:pt x="681347" y="96706"/>
                </a:lnTo>
                <a:lnTo>
                  <a:pt x="681384" y="124055"/>
                </a:lnTo>
                <a:cubicBezTo>
                  <a:pt x="681384" y="125015"/>
                  <a:pt x="680609" y="125790"/>
                  <a:pt x="679649" y="125790"/>
                </a:cubicBezTo>
                <a:lnTo>
                  <a:pt x="653924" y="125827"/>
                </a:lnTo>
                <a:cubicBezTo>
                  <a:pt x="651451" y="125827"/>
                  <a:pt x="649458" y="123834"/>
                  <a:pt x="649458" y="121361"/>
                </a:cubicBezTo>
                <a:lnTo>
                  <a:pt x="649495" y="84452"/>
                </a:lnTo>
                <a:lnTo>
                  <a:pt x="649495" y="12848"/>
                </a:lnTo>
                <a:cubicBezTo>
                  <a:pt x="649495" y="7533"/>
                  <a:pt x="653813" y="3215"/>
                  <a:pt x="659165" y="3215"/>
                </a:cubicBezTo>
                <a:close/>
                <a:moveTo>
                  <a:pt x="766518" y="3188"/>
                </a:moveTo>
                <a:lnTo>
                  <a:pt x="793831" y="3188"/>
                </a:lnTo>
                <a:cubicBezTo>
                  <a:pt x="795270" y="3188"/>
                  <a:pt x="796599" y="4000"/>
                  <a:pt x="797300" y="5292"/>
                </a:cubicBezTo>
                <a:lnTo>
                  <a:pt x="859529" y="124250"/>
                </a:lnTo>
                <a:cubicBezTo>
                  <a:pt x="859861" y="124914"/>
                  <a:pt x="859382" y="125689"/>
                  <a:pt x="858643" y="125689"/>
                </a:cubicBezTo>
                <a:lnTo>
                  <a:pt x="840816" y="125689"/>
                </a:lnTo>
                <a:cubicBezTo>
                  <a:pt x="830999" y="125689"/>
                  <a:pt x="822030" y="120116"/>
                  <a:pt x="817637" y="111332"/>
                </a:cubicBezTo>
                <a:lnTo>
                  <a:pt x="813134" y="102178"/>
                </a:lnTo>
                <a:lnTo>
                  <a:pt x="742859" y="102178"/>
                </a:lnTo>
                <a:lnTo>
                  <a:pt x="732266" y="123512"/>
                </a:lnTo>
                <a:cubicBezTo>
                  <a:pt x="731602" y="124841"/>
                  <a:pt x="730273" y="125689"/>
                  <a:pt x="728797" y="125689"/>
                </a:cubicBezTo>
                <a:lnTo>
                  <a:pt x="697313" y="125689"/>
                </a:lnTo>
                <a:cubicBezTo>
                  <a:pt x="696575" y="125689"/>
                  <a:pt x="696095" y="124914"/>
                  <a:pt x="696465" y="124250"/>
                </a:cubicBezTo>
                <a:lnTo>
                  <a:pt x="756663" y="9167"/>
                </a:lnTo>
                <a:cubicBezTo>
                  <a:pt x="758583" y="5476"/>
                  <a:pt x="762384" y="3188"/>
                  <a:pt x="766518" y="3188"/>
                </a:cubicBezTo>
                <a:close/>
                <a:moveTo>
                  <a:pt x="417374" y="3166"/>
                </a:moveTo>
                <a:cubicBezTo>
                  <a:pt x="448858" y="3166"/>
                  <a:pt x="466205" y="17450"/>
                  <a:pt x="466205" y="43397"/>
                </a:cubicBezTo>
                <a:cubicBezTo>
                  <a:pt x="466205" y="68717"/>
                  <a:pt x="445647" y="77759"/>
                  <a:pt x="439372" y="79937"/>
                </a:cubicBezTo>
                <a:lnTo>
                  <a:pt x="438265" y="80343"/>
                </a:lnTo>
                <a:lnTo>
                  <a:pt x="472996" y="124154"/>
                </a:lnTo>
                <a:cubicBezTo>
                  <a:pt x="473513" y="124819"/>
                  <a:pt x="473033" y="125741"/>
                  <a:pt x="472221" y="125741"/>
                </a:cubicBezTo>
                <a:lnTo>
                  <a:pt x="439852" y="125741"/>
                </a:lnTo>
                <a:cubicBezTo>
                  <a:pt x="438745" y="125741"/>
                  <a:pt x="437674" y="125261"/>
                  <a:pt x="436936" y="124449"/>
                </a:cubicBezTo>
                <a:lnTo>
                  <a:pt x="411616" y="95697"/>
                </a:lnTo>
                <a:cubicBezTo>
                  <a:pt x="410768" y="94811"/>
                  <a:pt x="410029" y="94036"/>
                  <a:pt x="409291" y="93261"/>
                </a:cubicBezTo>
                <a:cubicBezTo>
                  <a:pt x="401430" y="85067"/>
                  <a:pt x="400027" y="83554"/>
                  <a:pt x="385411" y="83554"/>
                </a:cubicBezTo>
                <a:lnTo>
                  <a:pt x="357471" y="83554"/>
                </a:lnTo>
                <a:lnTo>
                  <a:pt x="357471" y="87983"/>
                </a:lnTo>
                <a:lnTo>
                  <a:pt x="357508" y="124043"/>
                </a:lnTo>
                <a:cubicBezTo>
                  <a:pt x="357508" y="125003"/>
                  <a:pt x="356732" y="125778"/>
                  <a:pt x="355773" y="125778"/>
                </a:cubicBezTo>
                <a:lnTo>
                  <a:pt x="330047" y="125815"/>
                </a:lnTo>
                <a:cubicBezTo>
                  <a:pt x="327574" y="125815"/>
                  <a:pt x="325581" y="123822"/>
                  <a:pt x="325581" y="121349"/>
                </a:cubicBezTo>
                <a:lnTo>
                  <a:pt x="325581" y="12910"/>
                </a:lnTo>
                <a:cubicBezTo>
                  <a:pt x="325581" y="7595"/>
                  <a:pt x="329900" y="3240"/>
                  <a:pt x="335214" y="3240"/>
                </a:cubicBezTo>
                <a:close/>
                <a:moveTo>
                  <a:pt x="224799" y="0"/>
                </a:moveTo>
                <a:cubicBezTo>
                  <a:pt x="237606" y="0"/>
                  <a:pt x="249344" y="1402"/>
                  <a:pt x="259641" y="4171"/>
                </a:cubicBezTo>
                <a:cubicBezTo>
                  <a:pt x="269865" y="6939"/>
                  <a:pt x="278723" y="11073"/>
                  <a:pt x="285884" y="16461"/>
                </a:cubicBezTo>
                <a:cubicBezTo>
                  <a:pt x="293044" y="21850"/>
                  <a:pt x="298617" y="28641"/>
                  <a:pt x="302456" y="36651"/>
                </a:cubicBezTo>
                <a:cubicBezTo>
                  <a:pt x="306294" y="44660"/>
                  <a:pt x="308251" y="54072"/>
                  <a:pt x="308251" y="64554"/>
                </a:cubicBezTo>
                <a:cubicBezTo>
                  <a:pt x="308251" y="75036"/>
                  <a:pt x="306294" y="84448"/>
                  <a:pt x="302456" y="92457"/>
                </a:cubicBezTo>
                <a:cubicBezTo>
                  <a:pt x="298617" y="100467"/>
                  <a:pt x="293044" y="107258"/>
                  <a:pt x="285884" y="112647"/>
                </a:cubicBezTo>
                <a:cubicBezTo>
                  <a:pt x="278723" y="118035"/>
                  <a:pt x="269865" y="122169"/>
                  <a:pt x="259641" y="124937"/>
                </a:cubicBezTo>
                <a:cubicBezTo>
                  <a:pt x="249344" y="127706"/>
                  <a:pt x="237643" y="129108"/>
                  <a:pt x="224799" y="129108"/>
                </a:cubicBezTo>
                <a:cubicBezTo>
                  <a:pt x="211955" y="129108"/>
                  <a:pt x="200217" y="127706"/>
                  <a:pt x="189883" y="124937"/>
                </a:cubicBezTo>
                <a:cubicBezTo>
                  <a:pt x="179548" y="122169"/>
                  <a:pt x="170653" y="118035"/>
                  <a:pt x="163419" y="112647"/>
                </a:cubicBezTo>
                <a:cubicBezTo>
                  <a:pt x="156222" y="107258"/>
                  <a:pt x="150575" y="100467"/>
                  <a:pt x="146699" y="92457"/>
                </a:cubicBezTo>
                <a:cubicBezTo>
                  <a:pt x="142787" y="84448"/>
                  <a:pt x="140794" y="75036"/>
                  <a:pt x="140794" y="64554"/>
                </a:cubicBezTo>
                <a:cubicBezTo>
                  <a:pt x="140794" y="54072"/>
                  <a:pt x="142787" y="44660"/>
                  <a:pt x="146699" y="36651"/>
                </a:cubicBezTo>
                <a:cubicBezTo>
                  <a:pt x="150575" y="28641"/>
                  <a:pt x="156222" y="21850"/>
                  <a:pt x="163419" y="16461"/>
                </a:cubicBezTo>
                <a:cubicBezTo>
                  <a:pt x="170653" y="11073"/>
                  <a:pt x="179548" y="6939"/>
                  <a:pt x="189883" y="4171"/>
                </a:cubicBezTo>
                <a:cubicBezTo>
                  <a:pt x="200217" y="1402"/>
                  <a:pt x="211955" y="0"/>
                  <a:pt x="224799" y="0"/>
                </a:cubicBezTo>
                <a:close/>
              </a:path>
            </a:pathLst>
          </a:custGeom>
          <a:solidFill>
            <a:srgbClr val="002BCB"/>
          </a:solidFill>
          <a:ln w="366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6279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page -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6">
            <a:extLst>
              <a:ext uri="{FF2B5EF4-FFF2-40B4-BE49-F238E27FC236}">
                <a16:creationId xmlns:a16="http://schemas.microsoft.com/office/drawing/2014/main" id="{F5B131AF-F4D7-3803-DD33-17CEC0056C65}"/>
              </a:ext>
            </a:extLst>
          </p:cNvPr>
          <p:cNvGrpSpPr/>
          <p:nvPr userDrawn="1"/>
        </p:nvGrpSpPr>
        <p:grpSpPr>
          <a:xfrm>
            <a:off x="3474631" y="2635741"/>
            <a:ext cx="5242738" cy="1586518"/>
            <a:chOff x="7395418" y="549904"/>
            <a:chExt cx="4088548" cy="1237246"/>
          </a:xfrm>
        </p:grpSpPr>
        <p:sp>
          <p:nvSpPr>
            <p:cNvPr id="5" name="Freeform: Shape 7">
              <a:extLst>
                <a:ext uri="{FF2B5EF4-FFF2-40B4-BE49-F238E27FC236}">
                  <a16:creationId xmlns:a16="http://schemas.microsoft.com/office/drawing/2014/main" id="{9B56DD29-3DB6-9C41-CA5E-1878F8CC94F1}"/>
                </a:ext>
              </a:extLst>
            </p:cNvPr>
            <p:cNvSpPr/>
            <p:nvPr userDrawn="1"/>
          </p:nvSpPr>
          <p:spPr>
            <a:xfrm>
              <a:off x="7395418" y="549904"/>
              <a:ext cx="4088548" cy="1237246"/>
            </a:xfrm>
            <a:custGeom>
              <a:avLst/>
              <a:gdLst>
                <a:gd name="connsiteX0" fmla="*/ 3950368 w 4088548"/>
                <a:gd name="connsiteY0" fmla="*/ 1031369 h 1237246"/>
                <a:gd name="connsiteX1" fmla="*/ 3882496 w 4088548"/>
                <a:gd name="connsiteY1" fmla="*/ 1104490 h 1237246"/>
                <a:gd name="connsiteX2" fmla="*/ 3950368 w 4088548"/>
                <a:gd name="connsiteY2" fmla="*/ 1176154 h 1237246"/>
                <a:gd name="connsiteX3" fmla="*/ 4020501 w 4088548"/>
                <a:gd name="connsiteY3" fmla="*/ 1101501 h 1237246"/>
                <a:gd name="connsiteX4" fmla="*/ 3950368 w 4088548"/>
                <a:gd name="connsiteY4" fmla="*/ 1031369 h 1237246"/>
                <a:gd name="connsiteX5" fmla="*/ 2346405 w 4088548"/>
                <a:gd name="connsiteY5" fmla="*/ 1031369 h 1237246"/>
                <a:gd name="connsiteX6" fmla="*/ 2278570 w 4088548"/>
                <a:gd name="connsiteY6" fmla="*/ 1104490 h 1237246"/>
                <a:gd name="connsiteX7" fmla="*/ 2346405 w 4088548"/>
                <a:gd name="connsiteY7" fmla="*/ 1176154 h 1237246"/>
                <a:gd name="connsiteX8" fmla="*/ 2416574 w 4088548"/>
                <a:gd name="connsiteY8" fmla="*/ 1100736 h 1237246"/>
                <a:gd name="connsiteX9" fmla="*/ 2346405 w 4088548"/>
                <a:gd name="connsiteY9" fmla="*/ 1031369 h 1237246"/>
                <a:gd name="connsiteX10" fmla="*/ 3213616 w 4088548"/>
                <a:gd name="connsiteY10" fmla="*/ 1029838 h 1237246"/>
                <a:gd name="connsiteX11" fmla="*/ 3149535 w 4088548"/>
                <a:gd name="connsiteY11" fmla="*/ 1093920 h 1237246"/>
                <a:gd name="connsiteX12" fmla="*/ 3260383 w 4088548"/>
                <a:gd name="connsiteY12" fmla="*/ 1056229 h 1237246"/>
                <a:gd name="connsiteX13" fmla="*/ 3213616 w 4088548"/>
                <a:gd name="connsiteY13" fmla="*/ 1029838 h 1237246"/>
                <a:gd name="connsiteX14" fmla="*/ 3678880 w 4088548"/>
                <a:gd name="connsiteY14" fmla="*/ 976328 h 1237246"/>
                <a:gd name="connsiteX15" fmla="*/ 3750543 w 4088548"/>
                <a:gd name="connsiteY15" fmla="*/ 976328 h 1237246"/>
                <a:gd name="connsiteX16" fmla="*/ 3750543 w 4088548"/>
                <a:gd name="connsiteY16" fmla="*/ 1230429 h 1237246"/>
                <a:gd name="connsiteX17" fmla="*/ 3678880 w 4088548"/>
                <a:gd name="connsiteY17" fmla="*/ 1230429 h 1237246"/>
                <a:gd name="connsiteX18" fmla="*/ 2558333 w 4088548"/>
                <a:gd name="connsiteY18" fmla="*/ 976328 h 1237246"/>
                <a:gd name="connsiteX19" fmla="*/ 2629959 w 4088548"/>
                <a:gd name="connsiteY19" fmla="*/ 976328 h 1237246"/>
                <a:gd name="connsiteX20" fmla="*/ 2629959 w 4088548"/>
                <a:gd name="connsiteY20" fmla="*/ 1105256 h 1237246"/>
                <a:gd name="connsiteX21" fmla="*/ 2685037 w 4088548"/>
                <a:gd name="connsiteY21" fmla="*/ 1172363 h 1237246"/>
                <a:gd name="connsiteX22" fmla="*/ 2740042 w 4088548"/>
                <a:gd name="connsiteY22" fmla="*/ 1105256 h 1237246"/>
                <a:gd name="connsiteX23" fmla="*/ 2740042 w 4088548"/>
                <a:gd name="connsiteY23" fmla="*/ 976328 h 1237246"/>
                <a:gd name="connsiteX24" fmla="*/ 2811705 w 4088548"/>
                <a:gd name="connsiteY24" fmla="*/ 976328 h 1237246"/>
                <a:gd name="connsiteX25" fmla="*/ 2811705 w 4088548"/>
                <a:gd name="connsiteY25" fmla="*/ 1113530 h 1237246"/>
                <a:gd name="connsiteX26" fmla="*/ 2685037 w 4088548"/>
                <a:gd name="connsiteY26" fmla="*/ 1237246 h 1237246"/>
                <a:gd name="connsiteX27" fmla="*/ 2558333 w 4088548"/>
                <a:gd name="connsiteY27" fmla="*/ 1113530 h 1237246"/>
                <a:gd name="connsiteX28" fmla="*/ 1875863 w 4088548"/>
                <a:gd name="connsiteY28" fmla="*/ 975777 h 1237246"/>
                <a:gd name="connsiteX29" fmla="*/ 1941475 w 4088548"/>
                <a:gd name="connsiteY29" fmla="*/ 975777 h 1237246"/>
                <a:gd name="connsiteX30" fmla="*/ 1941475 w 4088548"/>
                <a:gd name="connsiteY30" fmla="*/ 1044414 h 1237246"/>
                <a:gd name="connsiteX31" fmla="*/ 1875863 w 4088548"/>
                <a:gd name="connsiteY31" fmla="*/ 1044414 h 1237246"/>
                <a:gd name="connsiteX32" fmla="*/ 3040947 w 4088548"/>
                <a:gd name="connsiteY32" fmla="*/ 972537 h 1237246"/>
                <a:gd name="connsiteX33" fmla="*/ 3040947 w 4088548"/>
                <a:gd name="connsiteY33" fmla="*/ 1038878 h 1237246"/>
                <a:gd name="connsiteX34" fmla="*/ 2952735 w 4088548"/>
                <a:gd name="connsiteY34" fmla="*/ 1092425 h 1237246"/>
                <a:gd name="connsiteX35" fmla="*/ 2952735 w 4088548"/>
                <a:gd name="connsiteY35" fmla="*/ 1230429 h 1237246"/>
                <a:gd name="connsiteX36" fmla="*/ 2881072 w 4088548"/>
                <a:gd name="connsiteY36" fmla="*/ 1230429 h 1237246"/>
                <a:gd name="connsiteX37" fmla="*/ 2881072 w 4088548"/>
                <a:gd name="connsiteY37" fmla="*/ 1087140 h 1237246"/>
                <a:gd name="connsiteX38" fmla="*/ 3040947 w 4088548"/>
                <a:gd name="connsiteY38" fmla="*/ 972537 h 1237246"/>
                <a:gd name="connsiteX39" fmla="*/ 3525092 w 4088548"/>
                <a:gd name="connsiteY39" fmla="*/ 970277 h 1237246"/>
                <a:gd name="connsiteX40" fmla="*/ 3617058 w 4088548"/>
                <a:gd name="connsiteY40" fmla="*/ 998928 h 1237246"/>
                <a:gd name="connsiteX41" fmla="*/ 3586148 w 4088548"/>
                <a:gd name="connsiteY41" fmla="*/ 1053240 h 1237246"/>
                <a:gd name="connsiteX42" fmla="*/ 3531106 w 4088548"/>
                <a:gd name="connsiteY42" fmla="*/ 1035889 h 1237246"/>
                <a:gd name="connsiteX43" fmla="*/ 3460974 w 4088548"/>
                <a:gd name="connsiteY43" fmla="*/ 1105256 h 1237246"/>
                <a:gd name="connsiteX44" fmla="*/ 3533366 w 4088548"/>
                <a:gd name="connsiteY44" fmla="*/ 1173857 h 1237246"/>
                <a:gd name="connsiteX45" fmla="*/ 3588408 w 4088548"/>
                <a:gd name="connsiteY45" fmla="*/ 1155012 h 1237246"/>
                <a:gd name="connsiteX46" fmla="*/ 3620084 w 4088548"/>
                <a:gd name="connsiteY46" fmla="*/ 1207028 h 1237246"/>
                <a:gd name="connsiteX47" fmla="*/ 3528846 w 4088548"/>
                <a:gd name="connsiteY47" fmla="*/ 1237246 h 1237246"/>
                <a:gd name="connsiteX48" fmla="*/ 3388582 w 4088548"/>
                <a:gd name="connsiteY48" fmla="*/ 1103725 h 1237246"/>
                <a:gd name="connsiteX49" fmla="*/ 3525092 w 4088548"/>
                <a:gd name="connsiteY49" fmla="*/ 970277 h 1237246"/>
                <a:gd name="connsiteX50" fmla="*/ 3214382 w 4088548"/>
                <a:gd name="connsiteY50" fmla="*/ 970277 h 1237246"/>
                <a:gd name="connsiteX51" fmla="*/ 3337295 w 4088548"/>
                <a:gd name="connsiteY51" fmla="*/ 1090931 h 1237246"/>
                <a:gd name="connsiteX52" fmla="*/ 3160835 w 4088548"/>
                <a:gd name="connsiteY52" fmla="*/ 1146701 h 1237246"/>
                <a:gd name="connsiteX53" fmla="*/ 3229473 w 4088548"/>
                <a:gd name="connsiteY53" fmla="*/ 1176883 h 1237246"/>
                <a:gd name="connsiteX54" fmla="*/ 3300334 w 4088548"/>
                <a:gd name="connsiteY54" fmla="*/ 1154283 h 1237246"/>
                <a:gd name="connsiteX55" fmla="*/ 3330515 w 4088548"/>
                <a:gd name="connsiteY55" fmla="*/ 1205533 h 1237246"/>
                <a:gd name="connsiteX56" fmla="*/ 3229473 w 4088548"/>
                <a:gd name="connsiteY56" fmla="*/ 1237246 h 1237246"/>
                <a:gd name="connsiteX57" fmla="*/ 3083923 w 4088548"/>
                <a:gd name="connsiteY57" fmla="*/ 1102996 h 1237246"/>
                <a:gd name="connsiteX58" fmla="*/ 3214382 w 4088548"/>
                <a:gd name="connsiteY58" fmla="*/ 970277 h 1237246"/>
                <a:gd name="connsiteX59" fmla="*/ 3939797 w 4088548"/>
                <a:gd name="connsiteY59" fmla="*/ 969512 h 1237246"/>
                <a:gd name="connsiteX60" fmla="*/ 4021266 w 4088548"/>
                <a:gd name="connsiteY60" fmla="*/ 1002719 h 1237246"/>
                <a:gd name="connsiteX61" fmla="*/ 4021266 w 4088548"/>
                <a:gd name="connsiteY61" fmla="*/ 976328 h 1237246"/>
                <a:gd name="connsiteX62" fmla="*/ 4088373 w 4088548"/>
                <a:gd name="connsiteY62" fmla="*/ 976328 h 1237246"/>
                <a:gd name="connsiteX63" fmla="*/ 4088373 w 4088548"/>
                <a:gd name="connsiteY63" fmla="*/ 1230429 h 1237246"/>
                <a:gd name="connsiteX64" fmla="*/ 4021266 w 4088548"/>
                <a:gd name="connsiteY64" fmla="*/ 1230429 h 1237246"/>
                <a:gd name="connsiteX65" fmla="*/ 4021266 w 4088548"/>
                <a:gd name="connsiteY65" fmla="*/ 1203273 h 1237246"/>
                <a:gd name="connsiteX66" fmla="*/ 3939797 w 4088548"/>
                <a:gd name="connsiteY66" fmla="*/ 1237246 h 1237246"/>
                <a:gd name="connsiteX67" fmla="*/ 3809339 w 4088548"/>
                <a:gd name="connsiteY67" fmla="*/ 1103725 h 1237246"/>
                <a:gd name="connsiteX68" fmla="*/ 3939797 w 4088548"/>
                <a:gd name="connsiteY68" fmla="*/ 969512 h 1237246"/>
                <a:gd name="connsiteX69" fmla="*/ 2335871 w 4088548"/>
                <a:gd name="connsiteY69" fmla="*/ 969512 h 1237246"/>
                <a:gd name="connsiteX70" fmla="*/ 2417303 w 4088548"/>
                <a:gd name="connsiteY70" fmla="*/ 1000422 h 1237246"/>
                <a:gd name="connsiteX71" fmla="*/ 2417303 w 4088548"/>
                <a:gd name="connsiteY71" fmla="*/ 976328 h 1237246"/>
                <a:gd name="connsiteX72" fmla="*/ 2484446 w 4088548"/>
                <a:gd name="connsiteY72" fmla="*/ 976328 h 1237246"/>
                <a:gd name="connsiteX73" fmla="*/ 2484446 w 4088548"/>
                <a:gd name="connsiteY73" fmla="*/ 1230429 h 1237246"/>
                <a:gd name="connsiteX74" fmla="*/ 2417303 w 4088548"/>
                <a:gd name="connsiteY74" fmla="*/ 1230429 h 1237246"/>
                <a:gd name="connsiteX75" fmla="*/ 2417303 w 4088548"/>
                <a:gd name="connsiteY75" fmla="*/ 1206299 h 1237246"/>
                <a:gd name="connsiteX76" fmla="*/ 2335871 w 4088548"/>
                <a:gd name="connsiteY76" fmla="*/ 1237246 h 1237246"/>
                <a:gd name="connsiteX77" fmla="*/ 2205412 w 4088548"/>
                <a:gd name="connsiteY77" fmla="*/ 1103725 h 1237246"/>
                <a:gd name="connsiteX78" fmla="*/ 2335871 w 4088548"/>
                <a:gd name="connsiteY78" fmla="*/ 969512 h 1237246"/>
                <a:gd name="connsiteX79" fmla="*/ 3678880 w 4088548"/>
                <a:gd name="connsiteY79" fmla="*/ 860923 h 1237246"/>
                <a:gd name="connsiteX80" fmla="*/ 3750543 w 4088548"/>
                <a:gd name="connsiteY80" fmla="*/ 860923 h 1237246"/>
                <a:gd name="connsiteX81" fmla="*/ 3750543 w 4088548"/>
                <a:gd name="connsiteY81" fmla="*/ 930290 h 1237246"/>
                <a:gd name="connsiteX82" fmla="*/ 3678880 w 4088548"/>
                <a:gd name="connsiteY82" fmla="*/ 930290 h 1237246"/>
                <a:gd name="connsiteX83" fmla="*/ 2094174 w 4088548"/>
                <a:gd name="connsiteY83" fmla="*/ 840387 h 1237246"/>
                <a:gd name="connsiteX84" fmla="*/ 2178256 w 4088548"/>
                <a:gd name="connsiteY84" fmla="*/ 841313 h 1237246"/>
                <a:gd name="connsiteX85" fmla="*/ 2178256 w 4088548"/>
                <a:gd name="connsiteY85" fmla="*/ 907690 h 1237246"/>
                <a:gd name="connsiteX86" fmla="*/ 2059862 w 4088548"/>
                <a:gd name="connsiteY86" fmla="*/ 962732 h 1237246"/>
                <a:gd name="connsiteX87" fmla="*/ 2059862 w 4088548"/>
                <a:gd name="connsiteY87" fmla="*/ 976328 h 1237246"/>
                <a:gd name="connsiteX88" fmla="*/ 2174501 w 4088548"/>
                <a:gd name="connsiteY88" fmla="*/ 976328 h 1237246"/>
                <a:gd name="connsiteX89" fmla="*/ 2174501 w 4088548"/>
                <a:gd name="connsiteY89" fmla="*/ 1044929 h 1237246"/>
                <a:gd name="connsiteX90" fmla="*/ 2059862 w 4088548"/>
                <a:gd name="connsiteY90" fmla="*/ 1044929 h 1237246"/>
                <a:gd name="connsiteX91" fmla="*/ 2059862 w 4088548"/>
                <a:gd name="connsiteY91" fmla="*/ 1230429 h 1237246"/>
                <a:gd name="connsiteX92" fmla="*/ 1988236 w 4088548"/>
                <a:gd name="connsiteY92" fmla="*/ 1230429 h 1237246"/>
                <a:gd name="connsiteX93" fmla="*/ 1988236 w 4088548"/>
                <a:gd name="connsiteY93" fmla="*/ 958212 h 1237246"/>
                <a:gd name="connsiteX94" fmla="*/ 2094174 w 4088548"/>
                <a:gd name="connsiteY94" fmla="*/ 840387 h 1237246"/>
                <a:gd name="connsiteX95" fmla="*/ 3701038 w 4088548"/>
                <a:gd name="connsiteY95" fmla="*/ 148414 h 1237246"/>
                <a:gd name="connsiteX96" fmla="*/ 3586289 w 4088548"/>
                <a:gd name="connsiteY96" fmla="*/ 378859 h 1237246"/>
                <a:gd name="connsiteX97" fmla="*/ 3814911 w 4088548"/>
                <a:gd name="connsiteY97" fmla="*/ 378859 h 1237246"/>
                <a:gd name="connsiteX98" fmla="*/ 1700058 w 4088548"/>
                <a:gd name="connsiteY98" fmla="*/ 146002 h 1237246"/>
                <a:gd name="connsiteX99" fmla="*/ 1700058 w 4088548"/>
                <a:gd name="connsiteY99" fmla="*/ 280434 h 1237246"/>
                <a:gd name="connsiteX100" fmla="*/ 1963163 w 4088548"/>
                <a:gd name="connsiteY100" fmla="*/ 280434 h 1237246"/>
                <a:gd name="connsiteX101" fmla="*/ 2063914 w 4088548"/>
                <a:gd name="connsiteY101" fmla="*/ 213218 h 1237246"/>
                <a:gd name="connsiteX102" fmla="*/ 1963163 w 4088548"/>
                <a:gd name="connsiteY102" fmla="*/ 146002 h 1237246"/>
                <a:gd name="connsiteX103" fmla="*/ 1069148 w 4088548"/>
                <a:gd name="connsiteY103" fmla="*/ 118941 h 1237246"/>
                <a:gd name="connsiteX104" fmla="*/ 983561 w 4088548"/>
                <a:gd name="connsiteY104" fmla="*/ 126523 h 1237246"/>
                <a:gd name="connsiteX105" fmla="*/ 919370 w 4088548"/>
                <a:gd name="connsiteY105" fmla="*/ 147737 h 1237246"/>
                <a:gd name="connsiteX106" fmla="*/ 873624 w 4088548"/>
                <a:gd name="connsiteY106" fmla="*/ 179668 h 1237246"/>
                <a:gd name="connsiteX107" fmla="*/ 844062 w 4088548"/>
                <a:gd name="connsiteY107" fmla="*/ 218926 h 1237246"/>
                <a:gd name="connsiteX108" fmla="*/ 828388 w 4088548"/>
                <a:gd name="connsiteY108" fmla="*/ 262559 h 1237246"/>
                <a:gd name="connsiteX109" fmla="*/ 823795 w 4088548"/>
                <a:gd name="connsiteY109" fmla="*/ 307029 h 1237246"/>
                <a:gd name="connsiteX110" fmla="*/ 828388 w 4088548"/>
                <a:gd name="connsiteY110" fmla="*/ 352119 h 1237246"/>
                <a:gd name="connsiteX111" fmla="*/ 844062 w 4088548"/>
                <a:gd name="connsiteY111" fmla="*/ 396006 h 1237246"/>
                <a:gd name="connsiteX112" fmla="*/ 873624 w 4088548"/>
                <a:gd name="connsiteY112" fmla="*/ 435082 h 1237246"/>
                <a:gd name="connsiteX113" fmla="*/ 919370 w 4088548"/>
                <a:gd name="connsiteY113" fmla="*/ 466540 h 1237246"/>
                <a:gd name="connsiteX114" fmla="*/ 983561 w 4088548"/>
                <a:gd name="connsiteY114" fmla="*/ 487535 h 1237246"/>
                <a:gd name="connsiteX115" fmla="*/ 1069148 w 4088548"/>
                <a:gd name="connsiteY115" fmla="*/ 495117 h 1237246"/>
                <a:gd name="connsiteX116" fmla="*/ 1188745 w 4088548"/>
                <a:gd name="connsiteY116" fmla="*/ 478568 h 1237246"/>
                <a:gd name="connsiteX117" fmla="*/ 1263543 w 4088548"/>
                <a:gd name="connsiteY117" fmla="*/ 435082 h 1237246"/>
                <a:gd name="connsiteX118" fmla="*/ 1301999 w 4088548"/>
                <a:gd name="connsiteY118" fmla="*/ 374282 h 1237246"/>
                <a:gd name="connsiteX119" fmla="*/ 1312715 w 4088548"/>
                <a:gd name="connsiteY119" fmla="*/ 307029 h 1237246"/>
                <a:gd name="connsiteX120" fmla="*/ 1301999 w 4088548"/>
                <a:gd name="connsiteY120" fmla="*/ 239776 h 1237246"/>
                <a:gd name="connsiteX121" fmla="*/ 1263543 w 4088548"/>
                <a:gd name="connsiteY121" fmla="*/ 179012 h 1237246"/>
                <a:gd name="connsiteX122" fmla="*/ 1188745 w 4088548"/>
                <a:gd name="connsiteY122" fmla="*/ 135490 h 1237246"/>
                <a:gd name="connsiteX123" fmla="*/ 1069148 w 4088548"/>
                <a:gd name="connsiteY123" fmla="*/ 118941 h 1237246"/>
                <a:gd name="connsiteX124" fmla="*/ 43013 w 4088548"/>
                <a:gd name="connsiteY124" fmla="*/ 16021 h 1237246"/>
                <a:gd name="connsiteX125" fmla="*/ 632647 w 4088548"/>
                <a:gd name="connsiteY125" fmla="*/ 16349 h 1237246"/>
                <a:gd name="connsiteX126" fmla="*/ 653862 w 4088548"/>
                <a:gd name="connsiteY126" fmla="*/ 37564 h 1237246"/>
                <a:gd name="connsiteX127" fmla="*/ 653899 w 4088548"/>
                <a:gd name="connsiteY127" fmla="*/ 138862 h 1237246"/>
                <a:gd name="connsiteX128" fmla="*/ 645661 w 4088548"/>
                <a:gd name="connsiteY128" fmla="*/ 147100 h 1237246"/>
                <a:gd name="connsiteX129" fmla="*/ 151200 w 4088548"/>
                <a:gd name="connsiteY129" fmla="*/ 146845 h 1237246"/>
                <a:gd name="connsiteX130" fmla="*/ 205767 w 4088548"/>
                <a:gd name="connsiteY130" fmla="*/ 184827 h 1237246"/>
                <a:gd name="connsiteX131" fmla="*/ 486114 w 4088548"/>
                <a:gd name="connsiteY131" fmla="*/ 209431 h 1237246"/>
                <a:gd name="connsiteX132" fmla="*/ 486405 w 4088548"/>
                <a:gd name="connsiteY132" fmla="*/ 409439 h 1237246"/>
                <a:gd name="connsiteX133" fmla="*/ 218817 w 4088548"/>
                <a:gd name="connsiteY133" fmla="*/ 432732 h 1237246"/>
                <a:gd name="connsiteX134" fmla="*/ 151382 w 4088548"/>
                <a:gd name="connsiteY134" fmla="*/ 471333 h 1237246"/>
                <a:gd name="connsiteX135" fmla="*/ 151455 w 4088548"/>
                <a:gd name="connsiteY135" fmla="*/ 590237 h 1237246"/>
                <a:gd name="connsiteX136" fmla="*/ 143181 w 4088548"/>
                <a:gd name="connsiteY136" fmla="*/ 598512 h 1237246"/>
                <a:gd name="connsiteX137" fmla="*/ 21215 w 4088548"/>
                <a:gd name="connsiteY137" fmla="*/ 598439 h 1237246"/>
                <a:gd name="connsiteX138" fmla="*/ 0 w 4088548"/>
                <a:gd name="connsiteY138" fmla="*/ 577188 h 1237246"/>
                <a:gd name="connsiteX139" fmla="*/ 109 w 4088548"/>
                <a:gd name="connsiteY139" fmla="*/ 433023 h 1237246"/>
                <a:gd name="connsiteX140" fmla="*/ 57484 w 4088548"/>
                <a:gd name="connsiteY140" fmla="*/ 344884 h 1237246"/>
                <a:gd name="connsiteX141" fmla="*/ 411097 w 4088548"/>
                <a:gd name="connsiteY141" fmla="*/ 322612 h 1237246"/>
                <a:gd name="connsiteX142" fmla="*/ 410878 w 4088548"/>
                <a:gd name="connsiteY142" fmla="*/ 301799 h 1237246"/>
                <a:gd name="connsiteX143" fmla="*/ 59999 w 4088548"/>
                <a:gd name="connsiteY143" fmla="*/ 282152 h 1237246"/>
                <a:gd name="connsiteX144" fmla="*/ 984 w 4088548"/>
                <a:gd name="connsiteY144" fmla="*/ 192664 h 1237246"/>
                <a:gd name="connsiteX145" fmla="*/ 911 w 4088548"/>
                <a:gd name="connsiteY145" fmla="*/ 56300 h 1237246"/>
                <a:gd name="connsiteX146" fmla="*/ 43013 w 4088548"/>
                <a:gd name="connsiteY146" fmla="*/ 16021 h 1237246"/>
                <a:gd name="connsiteX147" fmla="*/ 2248529 w 4088548"/>
                <a:gd name="connsiteY147" fmla="*/ 15675 h 1237246"/>
                <a:gd name="connsiteX148" fmla="*/ 2398161 w 4088548"/>
                <a:gd name="connsiteY148" fmla="*/ 15675 h 1237246"/>
                <a:gd name="connsiteX149" fmla="*/ 2414747 w 4088548"/>
                <a:gd name="connsiteY149" fmla="*/ 25954 h 1237246"/>
                <a:gd name="connsiteX150" fmla="*/ 2633053 w 4088548"/>
                <a:gd name="connsiteY150" fmla="*/ 465082 h 1237246"/>
                <a:gd name="connsiteX151" fmla="*/ 2849610 w 4088548"/>
                <a:gd name="connsiteY151" fmla="*/ 25991 h 1237246"/>
                <a:gd name="connsiteX152" fmla="*/ 2866231 w 4088548"/>
                <a:gd name="connsiteY152" fmla="*/ 15675 h 1237246"/>
                <a:gd name="connsiteX153" fmla="*/ 3015827 w 4088548"/>
                <a:gd name="connsiteY153" fmla="*/ 15675 h 1237246"/>
                <a:gd name="connsiteX154" fmla="*/ 3019983 w 4088548"/>
                <a:gd name="connsiteY154" fmla="*/ 22564 h 1237246"/>
                <a:gd name="connsiteX155" fmla="*/ 2723926 w 4088548"/>
                <a:gd name="connsiteY155" fmla="*/ 588360 h 1237246"/>
                <a:gd name="connsiteX156" fmla="*/ 2707523 w 4088548"/>
                <a:gd name="connsiteY156" fmla="*/ 598275 h 1237246"/>
                <a:gd name="connsiteX157" fmla="*/ 2577574 w 4088548"/>
                <a:gd name="connsiteY157" fmla="*/ 598275 h 1237246"/>
                <a:gd name="connsiteX158" fmla="*/ 2530771 w 4088548"/>
                <a:gd name="connsiteY158" fmla="*/ 569952 h 1237246"/>
                <a:gd name="connsiteX159" fmla="*/ 2244337 w 4088548"/>
                <a:gd name="connsiteY159" fmla="*/ 22564 h 1237246"/>
                <a:gd name="connsiteX160" fmla="*/ 2248529 w 4088548"/>
                <a:gd name="connsiteY160" fmla="*/ 15675 h 1237246"/>
                <a:gd name="connsiteX161" fmla="*/ 3134968 w 4088548"/>
                <a:gd name="connsiteY161" fmla="*/ 15236 h 1237246"/>
                <a:gd name="connsiteX162" fmla="*/ 3222014 w 4088548"/>
                <a:gd name="connsiteY162" fmla="*/ 15236 h 1237246"/>
                <a:gd name="connsiteX163" fmla="*/ 3240531 w 4088548"/>
                <a:gd name="connsiteY163" fmla="*/ 33753 h 1237246"/>
                <a:gd name="connsiteX164" fmla="*/ 3240531 w 4088548"/>
                <a:gd name="connsiteY164" fmla="*/ 459977 h 1237246"/>
                <a:gd name="connsiteX165" fmla="*/ 3240713 w 4088548"/>
                <a:gd name="connsiteY165" fmla="*/ 590071 h 1237246"/>
                <a:gd name="connsiteX166" fmla="*/ 3232475 w 4088548"/>
                <a:gd name="connsiteY166" fmla="*/ 598346 h 1237246"/>
                <a:gd name="connsiteX167" fmla="*/ 3110036 w 4088548"/>
                <a:gd name="connsiteY167" fmla="*/ 598455 h 1237246"/>
                <a:gd name="connsiteX168" fmla="*/ 3088858 w 4088548"/>
                <a:gd name="connsiteY168" fmla="*/ 577204 h 1237246"/>
                <a:gd name="connsiteX169" fmla="*/ 3088967 w 4088548"/>
                <a:gd name="connsiteY169" fmla="*/ 401655 h 1237246"/>
                <a:gd name="connsiteX170" fmla="*/ 3089040 w 4088548"/>
                <a:gd name="connsiteY170" fmla="*/ 401655 h 1237246"/>
                <a:gd name="connsiteX171" fmla="*/ 3089040 w 4088548"/>
                <a:gd name="connsiteY171" fmla="*/ 61164 h 1237246"/>
                <a:gd name="connsiteX172" fmla="*/ 3134968 w 4088548"/>
                <a:gd name="connsiteY172" fmla="*/ 15236 h 1237246"/>
                <a:gd name="connsiteX173" fmla="*/ 3645595 w 4088548"/>
                <a:gd name="connsiteY173" fmla="*/ 15221 h 1237246"/>
                <a:gd name="connsiteX174" fmla="*/ 3775544 w 4088548"/>
                <a:gd name="connsiteY174" fmla="*/ 15221 h 1237246"/>
                <a:gd name="connsiteX175" fmla="*/ 3791911 w 4088548"/>
                <a:gd name="connsiteY175" fmla="*/ 25172 h 1237246"/>
                <a:gd name="connsiteX176" fmla="*/ 4088004 w 4088548"/>
                <a:gd name="connsiteY176" fmla="*/ 590932 h 1237246"/>
                <a:gd name="connsiteX177" fmla="*/ 4083812 w 4088548"/>
                <a:gd name="connsiteY177" fmla="*/ 597821 h 1237246"/>
                <a:gd name="connsiteX178" fmla="*/ 3998990 w 4088548"/>
                <a:gd name="connsiteY178" fmla="*/ 597821 h 1237246"/>
                <a:gd name="connsiteX179" fmla="*/ 3888834 w 4088548"/>
                <a:gd name="connsiteY179" fmla="*/ 529511 h 1237246"/>
                <a:gd name="connsiteX180" fmla="*/ 3867255 w 4088548"/>
                <a:gd name="connsiteY180" fmla="*/ 486062 h 1237246"/>
                <a:gd name="connsiteX181" fmla="*/ 3533071 w 4088548"/>
                <a:gd name="connsiteY181" fmla="*/ 486062 h 1237246"/>
                <a:gd name="connsiteX182" fmla="*/ 3482731 w 4088548"/>
                <a:gd name="connsiteY182" fmla="*/ 587542 h 1237246"/>
                <a:gd name="connsiteX183" fmla="*/ 3466146 w 4088548"/>
                <a:gd name="connsiteY183" fmla="*/ 597821 h 1237246"/>
                <a:gd name="connsiteX184" fmla="*/ 3316514 w 4088548"/>
                <a:gd name="connsiteY184" fmla="*/ 597821 h 1237246"/>
                <a:gd name="connsiteX185" fmla="*/ 3312358 w 4088548"/>
                <a:gd name="connsiteY185" fmla="*/ 590932 h 1237246"/>
                <a:gd name="connsiteX186" fmla="*/ 3598792 w 4088548"/>
                <a:gd name="connsiteY186" fmla="*/ 43544 h 1237246"/>
                <a:gd name="connsiteX187" fmla="*/ 3645595 w 4088548"/>
                <a:gd name="connsiteY187" fmla="*/ 15221 h 1237246"/>
                <a:gd name="connsiteX188" fmla="*/ 1985106 w 4088548"/>
                <a:gd name="connsiteY188" fmla="*/ 15070 h 1237246"/>
                <a:gd name="connsiteX189" fmla="*/ 2217264 w 4088548"/>
                <a:gd name="connsiteY189" fmla="*/ 206366 h 1237246"/>
                <a:gd name="connsiteX190" fmla="*/ 2089612 w 4088548"/>
                <a:gd name="connsiteY190" fmla="*/ 380238 h 1237246"/>
                <a:gd name="connsiteX191" fmla="*/ 2084290 w 4088548"/>
                <a:gd name="connsiteY191" fmla="*/ 382060 h 1237246"/>
                <a:gd name="connsiteX192" fmla="*/ 2249560 w 4088548"/>
                <a:gd name="connsiteY192" fmla="*/ 590525 h 1237246"/>
                <a:gd name="connsiteX193" fmla="*/ 2245878 w 4088548"/>
                <a:gd name="connsiteY193" fmla="*/ 598143 h 1237246"/>
                <a:gd name="connsiteX194" fmla="*/ 2091908 w 4088548"/>
                <a:gd name="connsiteY194" fmla="*/ 598143 h 1237246"/>
                <a:gd name="connsiteX195" fmla="*/ 2078020 w 4088548"/>
                <a:gd name="connsiteY195" fmla="*/ 591874 h 1237246"/>
                <a:gd name="connsiteX196" fmla="*/ 1957695 w 4088548"/>
                <a:gd name="connsiteY196" fmla="*/ 455218 h 1237246"/>
                <a:gd name="connsiteX197" fmla="*/ 1946650 w 4088548"/>
                <a:gd name="connsiteY197" fmla="*/ 443663 h 1237246"/>
                <a:gd name="connsiteX198" fmla="*/ 1832995 w 4088548"/>
                <a:gd name="connsiteY198" fmla="*/ 397479 h 1237246"/>
                <a:gd name="connsiteX199" fmla="*/ 1700058 w 4088548"/>
                <a:gd name="connsiteY199" fmla="*/ 397479 h 1237246"/>
                <a:gd name="connsiteX200" fmla="*/ 1700058 w 4088548"/>
                <a:gd name="connsiteY200" fmla="*/ 418512 h 1237246"/>
                <a:gd name="connsiteX201" fmla="*/ 1700313 w 4088548"/>
                <a:gd name="connsiteY201" fmla="*/ 590051 h 1237246"/>
                <a:gd name="connsiteX202" fmla="*/ 1692038 w 4088548"/>
                <a:gd name="connsiteY202" fmla="*/ 598326 h 1237246"/>
                <a:gd name="connsiteX203" fmla="*/ 1569635 w 4088548"/>
                <a:gd name="connsiteY203" fmla="*/ 598435 h 1237246"/>
                <a:gd name="connsiteX204" fmla="*/ 1548421 w 4088548"/>
                <a:gd name="connsiteY204" fmla="*/ 577184 h 1237246"/>
                <a:gd name="connsiteX205" fmla="*/ 1548530 w 4088548"/>
                <a:gd name="connsiteY205" fmla="*/ 431051 h 1237246"/>
                <a:gd name="connsiteX206" fmla="*/ 1548421 w 4088548"/>
                <a:gd name="connsiteY206" fmla="*/ 431051 h 1237246"/>
                <a:gd name="connsiteX207" fmla="*/ 1548421 w 4088548"/>
                <a:gd name="connsiteY207" fmla="*/ 61399 h 1237246"/>
                <a:gd name="connsiteX208" fmla="*/ 1594349 w 4088548"/>
                <a:gd name="connsiteY208" fmla="*/ 15434 h 1237246"/>
                <a:gd name="connsiteX209" fmla="*/ 1069148 w 4088548"/>
                <a:gd name="connsiteY209" fmla="*/ 0 h 1237246"/>
                <a:gd name="connsiteX210" fmla="*/ 1234783 w 4088548"/>
                <a:gd name="connsiteY210" fmla="*/ 19866 h 1237246"/>
                <a:gd name="connsiteX211" fmla="*/ 1359665 w 4088548"/>
                <a:gd name="connsiteY211" fmla="*/ 78334 h 1237246"/>
                <a:gd name="connsiteX212" fmla="*/ 1438509 w 4088548"/>
                <a:gd name="connsiteY212" fmla="*/ 174347 h 1237246"/>
                <a:gd name="connsiteX213" fmla="*/ 1466066 w 4088548"/>
                <a:gd name="connsiteY213" fmla="*/ 307029 h 1237246"/>
                <a:gd name="connsiteX214" fmla="*/ 1438509 w 4088548"/>
                <a:gd name="connsiteY214" fmla="*/ 439748 h 1237246"/>
                <a:gd name="connsiteX215" fmla="*/ 1359665 w 4088548"/>
                <a:gd name="connsiteY215" fmla="*/ 535724 h 1237246"/>
                <a:gd name="connsiteX216" fmla="*/ 1234783 w 4088548"/>
                <a:gd name="connsiteY216" fmla="*/ 594192 h 1237246"/>
                <a:gd name="connsiteX217" fmla="*/ 1069148 w 4088548"/>
                <a:gd name="connsiteY217" fmla="*/ 614058 h 1237246"/>
                <a:gd name="connsiteX218" fmla="*/ 903040 w 4088548"/>
                <a:gd name="connsiteY218" fmla="*/ 594192 h 1237246"/>
                <a:gd name="connsiteX219" fmla="*/ 777247 w 4088548"/>
                <a:gd name="connsiteY219" fmla="*/ 535688 h 1237246"/>
                <a:gd name="connsiteX220" fmla="*/ 697601 w 4088548"/>
                <a:gd name="connsiteY220" fmla="*/ 439711 h 1237246"/>
                <a:gd name="connsiteX221" fmla="*/ 669607 w 4088548"/>
                <a:gd name="connsiteY221" fmla="*/ 307029 h 1237246"/>
                <a:gd name="connsiteX222" fmla="*/ 697601 w 4088548"/>
                <a:gd name="connsiteY222" fmla="*/ 174347 h 1237246"/>
                <a:gd name="connsiteX223" fmla="*/ 777247 w 4088548"/>
                <a:gd name="connsiteY223" fmla="*/ 78370 h 1237246"/>
                <a:gd name="connsiteX224" fmla="*/ 903040 w 4088548"/>
                <a:gd name="connsiteY224" fmla="*/ 19866 h 1237246"/>
                <a:gd name="connsiteX225" fmla="*/ 1069148 w 4088548"/>
                <a:gd name="connsiteY225" fmla="*/ 0 h 1237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</a:cxnLst>
              <a:rect l="l" t="t" r="r" b="b"/>
              <a:pathLst>
                <a:path w="4088548" h="1237246">
                  <a:moveTo>
                    <a:pt x="3950368" y="1031369"/>
                  </a:moveTo>
                  <a:cubicBezTo>
                    <a:pt x="3910418" y="1031369"/>
                    <a:pt x="3882496" y="1057760"/>
                    <a:pt x="3882496" y="1104490"/>
                  </a:cubicBezTo>
                  <a:cubicBezTo>
                    <a:pt x="3882496" y="1145972"/>
                    <a:pt x="3910418" y="1176154"/>
                    <a:pt x="3950368" y="1176154"/>
                  </a:cubicBezTo>
                  <a:cubicBezTo>
                    <a:pt x="3988824" y="1176154"/>
                    <a:pt x="4020501" y="1147466"/>
                    <a:pt x="4020501" y="1101501"/>
                  </a:cubicBezTo>
                  <a:cubicBezTo>
                    <a:pt x="4020501" y="1059983"/>
                    <a:pt x="3988824" y="1031369"/>
                    <a:pt x="3950368" y="1031369"/>
                  </a:cubicBezTo>
                  <a:close/>
                  <a:moveTo>
                    <a:pt x="2346405" y="1031369"/>
                  </a:moveTo>
                  <a:cubicBezTo>
                    <a:pt x="2306491" y="1031369"/>
                    <a:pt x="2278570" y="1057760"/>
                    <a:pt x="2278570" y="1104490"/>
                  </a:cubicBezTo>
                  <a:cubicBezTo>
                    <a:pt x="2278570" y="1145972"/>
                    <a:pt x="2306491" y="1176154"/>
                    <a:pt x="2346405" y="1176154"/>
                  </a:cubicBezTo>
                  <a:cubicBezTo>
                    <a:pt x="2384861" y="1176154"/>
                    <a:pt x="2416574" y="1147466"/>
                    <a:pt x="2416574" y="1100736"/>
                  </a:cubicBezTo>
                  <a:cubicBezTo>
                    <a:pt x="2416574" y="1059983"/>
                    <a:pt x="2384861" y="1031369"/>
                    <a:pt x="2346405" y="1031369"/>
                  </a:cubicBezTo>
                  <a:close/>
                  <a:moveTo>
                    <a:pt x="3213616" y="1029838"/>
                  </a:moveTo>
                  <a:cubicBezTo>
                    <a:pt x="3175160" y="1029838"/>
                    <a:pt x="3150301" y="1054734"/>
                    <a:pt x="3149535" y="1093920"/>
                  </a:cubicBezTo>
                  <a:lnTo>
                    <a:pt x="3260383" y="1056229"/>
                  </a:lnTo>
                  <a:cubicBezTo>
                    <a:pt x="3254332" y="1041904"/>
                    <a:pt x="3240773" y="1029838"/>
                    <a:pt x="3213616" y="1029838"/>
                  </a:cubicBezTo>
                  <a:close/>
                  <a:moveTo>
                    <a:pt x="3678880" y="976328"/>
                  </a:moveTo>
                  <a:lnTo>
                    <a:pt x="3750543" y="976328"/>
                  </a:lnTo>
                  <a:lnTo>
                    <a:pt x="3750543" y="1230429"/>
                  </a:lnTo>
                  <a:lnTo>
                    <a:pt x="3678880" y="1230429"/>
                  </a:lnTo>
                  <a:close/>
                  <a:moveTo>
                    <a:pt x="2558333" y="976328"/>
                  </a:moveTo>
                  <a:lnTo>
                    <a:pt x="2629959" y="976328"/>
                  </a:lnTo>
                  <a:lnTo>
                    <a:pt x="2629959" y="1105256"/>
                  </a:lnTo>
                  <a:cubicBezTo>
                    <a:pt x="2629959" y="1144477"/>
                    <a:pt x="2644285" y="1172363"/>
                    <a:pt x="2685037" y="1172363"/>
                  </a:cubicBezTo>
                  <a:cubicBezTo>
                    <a:pt x="2725753" y="1172363"/>
                    <a:pt x="2740042" y="1144477"/>
                    <a:pt x="2740042" y="1105256"/>
                  </a:cubicBezTo>
                  <a:lnTo>
                    <a:pt x="2740042" y="976328"/>
                  </a:lnTo>
                  <a:lnTo>
                    <a:pt x="2811705" y="976328"/>
                  </a:lnTo>
                  <a:lnTo>
                    <a:pt x="2811705" y="1113530"/>
                  </a:lnTo>
                  <a:cubicBezTo>
                    <a:pt x="2811705" y="1185922"/>
                    <a:pt x="2768729" y="1237246"/>
                    <a:pt x="2685037" y="1237246"/>
                  </a:cubicBezTo>
                  <a:cubicBezTo>
                    <a:pt x="2601309" y="1237246"/>
                    <a:pt x="2558333" y="1185922"/>
                    <a:pt x="2558333" y="1113530"/>
                  </a:cubicBezTo>
                  <a:close/>
                  <a:moveTo>
                    <a:pt x="1875863" y="975777"/>
                  </a:moveTo>
                  <a:lnTo>
                    <a:pt x="1941475" y="975777"/>
                  </a:lnTo>
                  <a:lnTo>
                    <a:pt x="1941475" y="1044414"/>
                  </a:lnTo>
                  <a:lnTo>
                    <a:pt x="1875863" y="1044414"/>
                  </a:lnTo>
                  <a:close/>
                  <a:moveTo>
                    <a:pt x="3040947" y="972537"/>
                  </a:moveTo>
                  <a:lnTo>
                    <a:pt x="3040947" y="1038878"/>
                  </a:lnTo>
                  <a:cubicBezTo>
                    <a:pt x="2974606" y="1036618"/>
                    <a:pt x="2952735" y="1052475"/>
                    <a:pt x="2952735" y="1092425"/>
                  </a:cubicBezTo>
                  <a:lnTo>
                    <a:pt x="2952735" y="1230429"/>
                  </a:lnTo>
                  <a:lnTo>
                    <a:pt x="2881072" y="1230429"/>
                  </a:lnTo>
                  <a:lnTo>
                    <a:pt x="2881072" y="1087140"/>
                  </a:lnTo>
                  <a:cubicBezTo>
                    <a:pt x="2881072" y="1006473"/>
                    <a:pt x="2928568" y="964263"/>
                    <a:pt x="3040947" y="972537"/>
                  </a:cubicBezTo>
                  <a:close/>
                  <a:moveTo>
                    <a:pt x="3525092" y="970277"/>
                  </a:moveTo>
                  <a:cubicBezTo>
                    <a:pt x="3564277" y="970277"/>
                    <a:pt x="3593693" y="980082"/>
                    <a:pt x="3617058" y="998928"/>
                  </a:cubicBezTo>
                  <a:lnTo>
                    <a:pt x="3586148" y="1053240"/>
                  </a:lnTo>
                  <a:cubicBezTo>
                    <a:pt x="3570291" y="1042669"/>
                    <a:pt x="3556003" y="1035889"/>
                    <a:pt x="3531106" y="1035889"/>
                  </a:cubicBezTo>
                  <a:cubicBezTo>
                    <a:pt x="3491885" y="1035889"/>
                    <a:pt x="3460974" y="1061514"/>
                    <a:pt x="3460974" y="1105256"/>
                  </a:cubicBezTo>
                  <a:cubicBezTo>
                    <a:pt x="3460974" y="1147466"/>
                    <a:pt x="3491885" y="1173857"/>
                    <a:pt x="3533366" y="1173857"/>
                  </a:cubicBezTo>
                  <a:cubicBezTo>
                    <a:pt x="3558992" y="1173857"/>
                    <a:pt x="3573353" y="1166348"/>
                    <a:pt x="3588408" y="1155012"/>
                  </a:cubicBezTo>
                  <a:lnTo>
                    <a:pt x="3620084" y="1207028"/>
                  </a:lnTo>
                  <a:cubicBezTo>
                    <a:pt x="3596682" y="1228169"/>
                    <a:pt x="3568797" y="1237246"/>
                    <a:pt x="3528846" y="1237246"/>
                  </a:cubicBezTo>
                  <a:cubicBezTo>
                    <a:pt x="3448909" y="1237246"/>
                    <a:pt x="3388582" y="1187453"/>
                    <a:pt x="3388582" y="1103725"/>
                  </a:cubicBezTo>
                  <a:cubicBezTo>
                    <a:pt x="3388582" y="1020033"/>
                    <a:pt x="3450403" y="970277"/>
                    <a:pt x="3525092" y="970277"/>
                  </a:cubicBezTo>
                  <a:close/>
                  <a:moveTo>
                    <a:pt x="3214382" y="970277"/>
                  </a:moveTo>
                  <a:cubicBezTo>
                    <a:pt x="3286774" y="970277"/>
                    <a:pt x="3330515" y="1013253"/>
                    <a:pt x="3337295" y="1090931"/>
                  </a:cubicBezTo>
                  <a:lnTo>
                    <a:pt x="3160835" y="1146701"/>
                  </a:lnTo>
                  <a:cubicBezTo>
                    <a:pt x="3174431" y="1167077"/>
                    <a:pt x="3199291" y="1176883"/>
                    <a:pt x="3229473" y="1176883"/>
                  </a:cubicBezTo>
                  <a:cubicBezTo>
                    <a:pt x="3261878" y="1176883"/>
                    <a:pt x="3282254" y="1167843"/>
                    <a:pt x="3300334" y="1154283"/>
                  </a:cubicBezTo>
                  <a:lnTo>
                    <a:pt x="3330515" y="1205533"/>
                  </a:lnTo>
                  <a:cubicBezTo>
                    <a:pt x="3307150" y="1225909"/>
                    <a:pt x="3273214" y="1237246"/>
                    <a:pt x="3229473" y="1237246"/>
                  </a:cubicBezTo>
                  <a:cubicBezTo>
                    <a:pt x="3141990" y="1237246"/>
                    <a:pt x="3083923" y="1185157"/>
                    <a:pt x="3083923" y="1102996"/>
                  </a:cubicBezTo>
                  <a:cubicBezTo>
                    <a:pt x="3083923" y="1023824"/>
                    <a:pt x="3136704" y="970277"/>
                    <a:pt x="3214382" y="970277"/>
                  </a:cubicBezTo>
                  <a:close/>
                  <a:moveTo>
                    <a:pt x="3939797" y="969512"/>
                  </a:moveTo>
                  <a:cubicBezTo>
                    <a:pt x="3971474" y="969512"/>
                    <a:pt x="4000124" y="980082"/>
                    <a:pt x="4021266" y="1002719"/>
                  </a:cubicBezTo>
                  <a:lnTo>
                    <a:pt x="4021266" y="976328"/>
                  </a:lnTo>
                  <a:lnTo>
                    <a:pt x="4088373" y="976328"/>
                  </a:lnTo>
                  <a:lnTo>
                    <a:pt x="4088373" y="1230429"/>
                  </a:lnTo>
                  <a:lnTo>
                    <a:pt x="4021266" y="1230429"/>
                  </a:lnTo>
                  <a:lnTo>
                    <a:pt x="4021266" y="1203273"/>
                  </a:lnTo>
                  <a:cubicBezTo>
                    <a:pt x="4000124" y="1226675"/>
                    <a:pt x="3971474" y="1237246"/>
                    <a:pt x="3939797" y="1237246"/>
                  </a:cubicBezTo>
                  <a:cubicBezTo>
                    <a:pt x="3863651" y="1237246"/>
                    <a:pt x="3809339" y="1183662"/>
                    <a:pt x="3809339" y="1103725"/>
                  </a:cubicBezTo>
                  <a:cubicBezTo>
                    <a:pt x="3809339" y="1023824"/>
                    <a:pt x="3864380" y="969512"/>
                    <a:pt x="3939797" y="969512"/>
                  </a:cubicBezTo>
                  <a:close/>
                  <a:moveTo>
                    <a:pt x="2335871" y="969512"/>
                  </a:moveTo>
                  <a:cubicBezTo>
                    <a:pt x="2371338" y="969512"/>
                    <a:pt x="2397692" y="979317"/>
                    <a:pt x="2417303" y="1000422"/>
                  </a:cubicBezTo>
                  <a:lnTo>
                    <a:pt x="2417303" y="976328"/>
                  </a:lnTo>
                  <a:lnTo>
                    <a:pt x="2484446" y="976328"/>
                  </a:lnTo>
                  <a:lnTo>
                    <a:pt x="2484446" y="1230429"/>
                  </a:lnTo>
                  <a:lnTo>
                    <a:pt x="2417303" y="1230429"/>
                  </a:lnTo>
                  <a:lnTo>
                    <a:pt x="2417303" y="1206299"/>
                  </a:lnTo>
                  <a:cubicBezTo>
                    <a:pt x="2397692" y="1227404"/>
                    <a:pt x="2370573" y="1237246"/>
                    <a:pt x="2335871" y="1237246"/>
                  </a:cubicBezTo>
                  <a:cubicBezTo>
                    <a:pt x="2259688" y="1237246"/>
                    <a:pt x="2205412" y="1183662"/>
                    <a:pt x="2205412" y="1103725"/>
                  </a:cubicBezTo>
                  <a:cubicBezTo>
                    <a:pt x="2205412" y="1023824"/>
                    <a:pt x="2260453" y="969512"/>
                    <a:pt x="2335871" y="969512"/>
                  </a:cubicBezTo>
                  <a:close/>
                  <a:moveTo>
                    <a:pt x="3678880" y="860923"/>
                  </a:moveTo>
                  <a:lnTo>
                    <a:pt x="3750543" y="860923"/>
                  </a:lnTo>
                  <a:lnTo>
                    <a:pt x="3750543" y="930290"/>
                  </a:lnTo>
                  <a:lnTo>
                    <a:pt x="3678880" y="930290"/>
                  </a:lnTo>
                  <a:close/>
                  <a:moveTo>
                    <a:pt x="2094174" y="840387"/>
                  </a:moveTo>
                  <a:cubicBezTo>
                    <a:pt x="2118032" y="836980"/>
                    <a:pt x="2146024" y="837167"/>
                    <a:pt x="2178256" y="841313"/>
                  </a:cubicBezTo>
                  <a:lnTo>
                    <a:pt x="2178256" y="907690"/>
                  </a:lnTo>
                  <a:cubicBezTo>
                    <a:pt x="2087784" y="897119"/>
                    <a:pt x="2059862" y="917496"/>
                    <a:pt x="2059862" y="962732"/>
                  </a:cubicBezTo>
                  <a:lnTo>
                    <a:pt x="2059862" y="976328"/>
                  </a:lnTo>
                  <a:lnTo>
                    <a:pt x="2174501" y="976328"/>
                  </a:lnTo>
                  <a:lnTo>
                    <a:pt x="2174501" y="1044929"/>
                  </a:lnTo>
                  <a:lnTo>
                    <a:pt x="2059862" y="1044929"/>
                  </a:lnTo>
                  <a:lnTo>
                    <a:pt x="2059862" y="1230429"/>
                  </a:lnTo>
                  <a:lnTo>
                    <a:pt x="1988236" y="1230429"/>
                  </a:lnTo>
                  <a:lnTo>
                    <a:pt x="1988236" y="958212"/>
                  </a:lnTo>
                  <a:cubicBezTo>
                    <a:pt x="1988236" y="893174"/>
                    <a:pt x="2022600" y="850607"/>
                    <a:pt x="2094174" y="840387"/>
                  </a:cubicBezTo>
                  <a:close/>
                  <a:moveTo>
                    <a:pt x="3701038" y="148414"/>
                  </a:moveTo>
                  <a:lnTo>
                    <a:pt x="3586289" y="378859"/>
                  </a:lnTo>
                  <a:lnTo>
                    <a:pt x="3814911" y="378859"/>
                  </a:lnTo>
                  <a:close/>
                  <a:moveTo>
                    <a:pt x="1700058" y="146002"/>
                  </a:moveTo>
                  <a:lnTo>
                    <a:pt x="1700058" y="280434"/>
                  </a:lnTo>
                  <a:lnTo>
                    <a:pt x="1963163" y="280434"/>
                  </a:lnTo>
                  <a:cubicBezTo>
                    <a:pt x="2046454" y="280434"/>
                    <a:pt x="2063914" y="243874"/>
                    <a:pt x="2063914" y="213218"/>
                  </a:cubicBezTo>
                  <a:cubicBezTo>
                    <a:pt x="2063914" y="182563"/>
                    <a:pt x="2046454" y="146002"/>
                    <a:pt x="1963163" y="146002"/>
                  </a:cubicBezTo>
                  <a:close/>
                  <a:moveTo>
                    <a:pt x="1069148" y="118941"/>
                  </a:moveTo>
                  <a:cubicBezTo>
                    <a:pt x="1036889" y="118941"/>
                    <a:pt x="1008129" y="121492"/>
                    <a:pt x="983561" y="126523"/>
                  </a:cubicBezTo>
                  <a:cubicBezTo>
                    <a:pt x="958993" y="131589"/>
                    <a:pt x="937377" y="138734"/>
                    <a:pt x="919370" y="147737"/>
                  </a:cubicBezTo>
                  <a:cubicBezTo>
                    <a:pt x="901290" y="156777"/>
                    <a:pt x="885908" y="167494"/>
                    <a:pt x="873624" y="179668"/>
                  </a:cubicBezTo>
                  <a:cubicBezTo>
                    <a:pt x="861303" y="191807"/>
                    <a:pt x="851352" y="205038"/>
                    <a:pt x="844062" y="218926"/>
                  </a:cubicBezTo>
                  <a:cubicBezTo>
                    <a:pt x="836735" y="232814"/>
                    <a:pt x="831486" y="247504"/>
                    <a:pt x="828388" y="262559"/>
                  </a:cubicBezTo>
                  <a:cubicBezTo>
                    <a:pt x="825363" y="277576"/>
                    <a:pt x="823795" y="292521"/>
                    <a:pt x="823795" y="307029"/>
                  </a:cubicBezTo>
                  <a:cubicBezTo>
                    <a:pt x="823795" y="321828"/>
                    <a:pt x="825363" y="336992"/>
                    <a:pt x="828388" y="352119"/>
                  </a:cubicBezTo>
                  <a:cubicBezTo>
                    <a:pt x="831486" y="367356"/>
                    <a:pt x="836735" y="382119"/>
                    <a:pt x="844062" y="396006"/>
                  </a:cubicBezTo>
                  <a:cubicBezTo>
                    <a:pt x="851389" y="409931"/>
                    <a:pt x="861303" y="423090"/>
                    <a:pt x="873624" y="435082"/>
                  </a:cubicBezTo>
                  <a:cubicBezTo>
                    <a:pt x="885908" y="447075"/>
                    <a:pt x="901327" y="457682"/>
                    <a:pt x="919370" y="466540"/>
                  </a:cubicBezTo>
                  <a:cubicBezTo>
                    <a:pt x="937414" y="475434"/>
                    <a:pt x="959029" y="482469"/>
                    <a:pt x="983561" y="487535"/>
                  </a:cubicBezTo>
                  <a:cubicBezTo>
                    <a:pt x="1008056" y="492566"/>
                    <a:pt x="1036853" y="495117"/>
                    <a:pt x="1069148" y="495117"/>
                  </a:cubicBezTo>
                  <a:cubicBezTo>
                    <a:pt x="1117300" y="495117"/>
                    <a:pt x="1157543" y="489577"/>
                    <a:pt x="1188745" y="478568"/>
                  </a:cubicBezTo>
                  <a:cubicBezTo>
                    <a:pt x="1220166" y="467524"/>
                    <a:pt x="1245317" y="452870"/>
                    <a:pt x="1263543" y="435082"/>
                  </a:cubicBezTo>
                  <a:cubicBezTo>
                    <a:pt x="1281841" y="417221"/>
                    <a:pt x="1294781" y="396772"/>
                    <a:pt x="1301999" y="374282"/>
                  </a:cubicBezTo>
                  <a:cubicBezTo>
                    <a:pt x="1309107" y="352046"/>
                    <a:pt x="1312715" y="329410"/>
                    <a:pt x="1312715" y="307029"/>
                  </a:cubicBezTo>
                  <a:cubicBezTo>
                    <a:pt x="1312715" y="284648"/>
                    <a:pt x="1309107" y="262012"/>
                    <a:pt x="1301999" y="239776"/>
                  </a:cubicBezTo>
                  <a:cubicBezTo>
                    <a:pt x="1294781" y="217323"/>
                    <a:pt x="1281878" y="196873"/>
                    <a:pt x="1263543" y="179012"/>
                  </a:cubicBezTo>
                  <a:cubicBezTo>
                    <a:pt x="1245317" y="161188"/>
                    <a:pt x="1220166" y="146571"/>
                    <a:pt x="1188745" y="135490"/>
                  </a:cubicBezTo>
                  <a:cubicBezTo>
                    <a:pt x="1157470" y="124518"/>
                    <a:pt x="1117227" y="118941"/>
                    <a:pt x="1069148" y="118941"/>
                  </a:cubicBezTo>
                  <a:close/>
                  <a:moveTo>
                    <a:pt x="43013" y="16021"/>
                  </a:moveTo>
                  <a:lnTo>
                    <a:pt x="632647" y="16349"/>
                  </a:lnTo>
                  <a:cubicBezTo>
                    <a:pt x="644348" y="16349"/>
                    <a:pt x="653862" y="25863"/>
                    <a:pt x="653862" y="37564"/>
                  </a:cubicBezTo>
                  <a:lnTo>
                    <a:pt x="653899" y="138862"/>
                  </a:lnTo>
                  <a:cubicBezTo>
                    <a:pt x="653899" y="143418"/>
                    <a:pt x="650217" y="147100"/>
                    <a:pt x="645661" y="147100"/>
                  </a:cubicBezTo>
                  <a:lnTo>
                    <a:pt x="151200" y="146845"/>
                  </a:lnTo>
                  <a:cubicBezTo>
                    <a:pt x="151236" y="172798"/>
                    <a:pt x="147190" y="179833"/>
                    <a:pt x="205767" y="184827"/>
                  </a:cubicBezTo>
                  <a:cubicBezTo>
                    <a:pt x="250712" y="188691"/>
                    <a:pt x="395715" y="200574"/>
                    <a:pt x="486114" y="209431"/>
                  </a:cubicBezTo>
                  <a:cubicBezTo>
                    <a:pt x="598857" y="220513"/>
                    <a:pt x="599076" y="398322"/>
                    <a:pt x="486405" y="409439"/>
                  </a:cubicBezTo>
                  <a:cubicBezTo>
                    <a:pt x="396079" y="418333"/>
                    <a:pt x="257929" y="428941"/>
                    <a:pt x="218817" y="432732"/>
                  </a:cubicBezTo>
                  <a:cubicBezTo>
                    <a:pt x="179741" y="436523"/>
                    <a:pt x="151382" y="446510"/>
                    <a:pt x="151382" y="471333"/>
                  </a:cubicBezTo>
                  <a:lnTo>
                    <a:pt x="151455" y="590237"/>
                  </a:lnTo>
                  <a:cubicBezTo>
                    <a:pt x="151455" y="594830"/>
                    <a:pt x="147773" y="598512"/>
                    <a:pt x="143181" y="598512"/>
                  </a:cubicBezTo>
                  <a:lnTo>
                    <a:pt x="21215" y="598439"/>
                  </a:lnTo>
                  <a:cubicBezTo>
                    <a:pt x="9477" y="598439"/>
                    <a:pt x="0" y="588925"/>
                    <a:pt x="0" y="577188"/>
                  </a:cubicBezTo>
                  <a:lnTo>
                    <a:pt x="109" y="433023"/>
                  </a:lnTo>
                  <a:cubicBezTo>
                    <a:pt x="182" y="395952"/>
                    <a:pt x="8275" y="352612"/>
                    <a:pt x="57484" y="344884"/>
                  </a:cubicBezTo>
                  <a:cubicBezTo>
                    <a:pt x="106656" y="337120"/>
                    <a:pt x="411097" y="322612"/>
                    <a:pt x="411097" y="322612"/>
                  </a:cubicBezTo>
                  <a:cubicBezTo>
                    <a:pt x="420137" y="318202"/>
                    <a:pt x="420028" y="306064"/>
                    <a:pt x="410878" y="301799"/>
                  </a:cubicBezTo>
                  <a:cubicBezTo>
                    <a:pt x="410878" y="301799"/>
                    <a:pt x="114566" y="290207"/>
                    <a:pt x="59999" y="282152"/>
                  </a:cubicBezTo>
                  <a:cubicBezTo>
                    <a:pt x="5395" y="274059"/>
                    <a:pt x="911" y="230537"/>
                    <a:pt x="984" y="192664"/>
                  </a:cubicBezTo>
                  <a:lnTo>
                    <a:pt x="911" y="56300"/>
                  </a:lnTo>
                  <a:cubicBezTo>
                    <a:pt x="948" y="34028"/>
                    <a:pt x="19903" y="16021"/>
                    <a:pt x="43013" y="16021"/>
                  </a:cubicBezTo>
                  <a:close/>
                  <a:moveTo>
                    <a:pt x="2248529" y="15675"/>
                  </a:moveTo>
                  <a:lnTo>
                    <a:pt x="2398161" y="15675"/>
                  </a:lnTo>
                  <a:cubicBezTo>
                    <a:pt x="2405196" y="15675"/>
                    <a:pt x="2411612" y="19648"/>
                    <a:pt x="2414747" y="25954"/>
                  </a:cubicBezTo>
                  <a:lnTo>
                    <a:pt x="2633053" y="465082"/>
                  </a:lnTo>
                  <a:lnTo>
                    <a:pt x="2849610" y="25991"/>
                  </a:lnTo>
                  <a:cubicBezTo>
                    <a:pt x="2852744" y="19685"/>
                    <a:pt x="2859196" y="15675"/>
                    <a:pt x="2866231" y="15675"/>
                  </a:cubicBezTo>
                  <a:lnTo>
                    <a:pt x="3015827" y="15675"/>
                  </a:lnTo>
                  <a:cubicBezTo>
                    <a:pt x="3019363" y="15675"/>
                    <a:pt x="3021623" y="19430"/>
                    <a:pt x="3019983" y="22564"/>
                  </a:cubicBezTo>
                  <a:lnTo>
                    <a:pt x="2723926" y="588360"/>
                  </a:lnTo>
                  <a:cubicBezTo>
                    <a:pt x="2720718" y="594448"/>
                    <a:pt x="2714412" y="598275"/>
                    <a:pt x="2707523" y="598275"/>
                  </a:cubicBezTo>
                  <a:lnTo>
                    <a:pt x="2577574" y="598275"/>
                  </a:lnTo>
                  <a:cubicBezTo>
                    <a:pt x="2557854" y="598275"/>
                    <a:pt x="2539920" y="587413"/>
                    <a:pt x="2530771" y="569952"/>
                  </a:cubicBezTo>
                  <a:lnTo>
                    <a:pt x="2244337" y="22564"/>
                  </a:lnTo>
                  <a:cubicBezTo>
                    <a:pt x="2242697" y="19430"/>
                    <a:pt x="2244993" y="15675"/>
                    <a:pt x="2248529" y="15675"/>
                  </a:cubicBezTo>
                  <a:close/>
                  <a:moveTo>
                    <a:pt x="3134968" y="15236"/>
                  </a:moveTo>
                  <a:lnTo>
                    <a:pt x="3222014" y="15236"/>
                  </a:lnTo>
                  <a:cubicBezTo>
                    <a:pt x="3232257" y="15236"/>
                    <a:pt x="3240531" y="23547"/>
                    <a:pt x="3240531" y="33753"/>
                  </a:cubicBezTo>
                  <a:lnTo>
                    <a:pt x="3240531" y="459977"/>
                  </a:lnTo>
                  <a:lnTo>
                    <a:pt x="3240713" y="590071"/>
                  </a:lnTo>
                  <a:cubicBezTo>
                    <a:pt x="3240713" y="594628"/>
                    <a:pt x="3237032" y="598346"/>
                    <a:pt x="3232475" y="598346"/>
                  </a:cubicBezTo>
                  <a:lnTo>
                    <a:pt x="3110036" y="598455"/>
                  </a:lnTo>
                  <a:cubicBezTo>
                    <a:pt x="3098335" y="598455"/>
                    <a:pt x="3088821" y="588941"/>
                    <a:pt x="3088858" y="577204"/>
                  </a:cubicBezTo>
                  <a:lnTo>
                    <a:pt x="3088967" y="401655"/>
                  </a:lnTo>
                  <a:lnTo>
                    <a:pt x="3089040" y="401655"/>
                  </a:lnTo>
                  <a:lnTo>
                    <a:pt x="3089040" y="61164"/>
                  </a:lnTo>
                  <a:cubicBezTo>
                    <a:pt x="3089040" y="35794"/>
                    <a:pt x="3109598" y="15236"/>
                    <a:pt x="3134968" y="15236"/>
                  </a:cubicBezTo>
                  <a:close/>
                  <a:moveTo>
                    <a:pt x="3645595" y="15221"/>
                  </a:moveTo>
                  <a:lnTo>
                    <a:pt x="3775544" y="15221"/>
                  </a:lnTo>
                  <a:cubicBezTo>
                    <a:pt x="3782433" y="15221"/>
                    <a:pt x="3788739" y="19048"/>
                    <a:pt x="3791911" y="25172"/>
                  </a:cubicBezTo>
                  <a:lnTo>
                    <a:pt x="4088004" y="590932"/>
                  </a:lnTo>
                  <a:cubicBezTo>
                    <a:pt x="4089644" y="594067"/>
                    <a:pt x="4087384" y="597821"/>
                    <a:pt x="4083812" y="597821"/>
                  </a:cubicBezTo>
                  <a:lnTo>
                    <a:pt x="3998990" y="597821"/>
                  </a:lnTo>
                  <a:cubicBezTo>
                    <a:pt x="3952260" y="597821"/>
                    <a:pt x="3909575" y="571357"/>
                    <a:pt x="3888834" y="529511"/>
                  </a:cubicBezTo>
                  <a:lnTo>
                    <a:pt x="3867255" y="486062"/>
                  </a:lnTo>
                  <a:lnTo>
                    <a:pt x="3533071" y="486062"/>
                  </a:lnTo>
                  <a:lnTo>
                    <a:pt x="3482731" y="587542"/>
                  </a:lnTo>
                  <a:cubicBezTo>
                    <a:pt x="3479597" y="593848"/>
                    <a:pt x="3473181" y="597821"/>
                    <a:pt x="3466146" y="597821"/>
                  </a:cubicBezTo>
                  <a:lnTo>
                    <a:pt x="3316514" y="597821"/>
                  </a:lnTo>
                  <a:cubicBezTo>
                    <a:pt x="3312978" y="597821"/>
                    <a:pt x="3310718" y="594067"/>
                    <a:pt x="3312358" y="590932"/>
                  </a:cubicBezTo>
                  <a:lnTo>
                    <a:pt x="3598792" y="43544"/>
                  </a:lnTo>
                  <a:cubicBezTo>
                    <a:pt x="3607941" y="26084"/>
                    <a:pt x="3625875" y="15221"/>
                    <a:pt x="3645595" y="15221"/>
                  </a:cubicBezTo>
                  <a:close/>
                  <a:moveTo>
                    <a:pt x="1985106" y="15070"/>
                  </a:moveTo>
                  <a:cubicBezTo>
                    <a:pt x="2134811" y="15070"/>
                    <a:pt x="2217264" y="83015"/>
                    <a:pt x="2217264" y="206366"/>
                  </a:cubicBezTo>
                  <a:cubicBezTo>
                    <a:pt x="2217264" y="326910"/>
                    <a:pt x="2119575" y="369922"/>
                    <a:pt x="2089612" y="380238"/>
                  </a:cubicBezTo>
                  <a:lnTo>
                    <a:pt x="2084290" y="382060"/>
                  </a:lnTo>
                  <a:lnTo>
                    <a:pt x="2249560" y="590525"/>
                  </a:lnTo>
                  <a:cubicBezTo>
                    <a:pt x="2252002" y="593587"/>
                    <a:pt x="2249815" y="598143"/>
                    <a:pt x="2245878" y="598143"/>
                  </a:cubicBezTo>
                  <a:lnTo>
                    <a:pt x="2091908" y="598143"/>
                  </a:lnTo>
                  <a:cubicBezTo>
                    <a:pt x="2086586" y="598143"/>
                    <a:pt x="2081520" y="595847"/>
                    <a:pt x="2078020" y="591874"/>
                  </a:cubicBezTo>
                  <a:lnTo>
                    <a:pt x="1957695" y="455218"/>
                  </a:lnTo>
                  <a:cubicBezTo>
                    <a:pt x="1953649" y="450990"/>
                    <a:pt x="1950004" y="447199"/>
                    <a:pt x="1946650" y="443663"/>
                  </a:cubicBezTo>
                  <a:cubicBezTo>
                    <a:pt x="1909251" y="404551"/>
                    <a:pt x="1902508" y="397479"/>
                    <a:pt x="1832995" y="397479"/>
                  </a:cubicBezTo>
                  <a:lnTo>
                    <a:pt x="1700058" y="397479"/>
                  </a:lnTo>
                  <a:lnTo>
                    <a:pt x="1700058" y="418512"/>
                  </a:lnTo>
                  <a:lnTo>
                    <a:pt x="1700313" y="590051"/>
                  </a:lnTo>
                  <a:cubicBezTo>
                    <a:pt x="1700313" y="594608"/>
                    <a:pt x="1696595" y="598326"/>
                    <a:pt x="1692038" y="598326"/>
                  </a:cubicBezTo>
                  <a:lnTo>
                    <a:pt x="1569635" y="598435"/>
                  </a:lnTo>
                  <a:cubicBezTo>
                    <a:pt x="1557898" y="598435"/>
                    <a:pt x="1548421" y="588921"/>
                    <a:pt x="1548421" y="577184"/>
                  </a:cubicBezTo>
                  <a:lnTo>
                    <a:pt x="1548530" y="431051"/>
                  </a:lnTo>
                  <a:lnTo>
                    <a:pt x="1548421" y="431051"/>
                  </a:lnTo>
                  <a:lnTo>
                    <a:pt x="1548421" y="61399"/>
                  </a:lnTo>
                  <a:cubicBezTo>
                    <a:pt x="1548421" y="36102"/>
                    <a:pt x="1569016" y="15470"/>
                    <a:pt x="1594349" y="15434"/>
                  </a:cubicBezTo>
                  <a:close/>
                  <a:moveTo>
                    <a:pt x="1069148" y="0"/>
                  </a:moveTo>
                  <a:cubicBezTo>
                    <a:pt x="1130131" y="0"/>
                    <a:pt x="1185865" y="6671"/>
                    <a:pt x="1234783" y="19866"/>
                  </a:cubicBezTo>
                  <a:cubicBezTo>
                    <a:pt x="1283518" y="33025"/>
                    <a:pt x="1325546" y="52672"/>
                    <a:pt x="1359665" y="78334"/>
                  </a:cubicBezTo>
                  <a:cubicBezTo>
                    <a:pt x="1393710" y="103923"/>
                    <a:pt x="1420210" y="136219"/>
                    <a:pt x="1438509" y="174347"/>
                  </a:cubicBezTo>
                  <a:cubicBezTo>
                    <a:pt x="1456807" y="212475"/>
                    <a:pt x="1466066" y="257127"/>
                    <a:pt x="1466066" y="307029"/>
                  </a:cubicBezTo>
                  <a:cubicBezTo>
                    <a:pt x="1466066" y="356931"/>
                    <a:pt x="1456807" y="401583"/>
                    <a:pt x="1438509" y="439748"/>
                  </a:cubicBezTo>
                  <a:cubicBezTo>
                    <a:pt x="1420210" y="477839"/>
                    <a:pt x="1393710" y="510135"/>
                    <a:pt x="1359665" y="535724"/>
                  </a:cubicBezTo>
                  <a:cubicBezTo>
                    <a:pt x="1325546" y="561386"/>
                    <a:pt x="1283518" y="581069"/>
                    <a:pt x="1234783" y="594192"/>
                  </a:cubicBezTo>
                  <a:cubicBezTo>
                    <a:pt x="1185865" y="607387"/>
                    <a:pt x="1130131" y="614058"/>
                    <a:pt x="1069148" y="614058"/>
                  </a:cubicBezTo>
                  <a:cubicBezTo>
                    <a:pt x="1008093" y="614058"/>
                    <a:pt x="952213" y="607387"/>
                    <a:pt x="903040" y="594192"/>
                  </a:cubicBezTo>
                  <a:cubicBezTo>
                    <a:pt x="853977" y="581069"/>
                    <a:pt x="811693" y="561386"/>
                    <a:pt x="777247" y="535688"/>
                  </a:cubicBezTo>
                  <a:cubicBezTo>
                    <a:pt x="742946" y="510135"/>
                    <a:pt x="716155" y="477839"/>
                    <a:pt x="697601" y="439711"/>
                  </a:cubicBezTo>
                  <a:cubicBezTo>
                    <a:pt x="679011" y="401583"/>
                    <a:pt x="669607" y="356931"/>
                    <a:pt x="669607" y="307029"/>
                  </a:cubicBezTo>
                  <a:cubicBezTo>
                    <a:pt x="669607" y="257127"/>
                    <a:pt x="679011" y="212475"/>
                    <a:pt x="697601" y="174347"/>
                  </a:cubicBezTo>
                  <a:cubicBezTo>
                    <a:pt x="716155" y="136255"/>
                    <a:pt x="742946" y="103959"/>
                    <a:pt x="777247" y="78370"/>
                  </a:cubicBezTo>
                  <a:cubicBezTo>
                    <a:pt x="811693" y="52672"/>
                    <a:pt x="853977" y="33025"/>
                    <a:pt x="903040" y="19866"/>
                  </a:cubicBezTo>
                  <a:cubicBezTo>
                    <a:pt x="952249" y="6671"/>
                    <a:pt x="1008129" y="0"/>
                    <a:pt x="1069148" y="0"/>
                  </a:cubicBezTo>
                  <a:close/>
                </a:path>
              </a:pathLst>
            </a:custGeom>
            <a:solidFill>
              <a:srgbClr val="002BCA"/>
            </a:solidFill>
            <a:ln w="364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" name="Freeform: Shape 8">
              <a:extLst>
                <a:ext uri="{FF2B5EF4-FFF2-40B4-BE49-F238E27FC236}">
                  <a16:creationId xmlns:a16="http://schemas.microsoft.com/office/drawing/2014/main" id="{1B6E0A58-6A0C-FBCF-254B-AB5F0CAC4004}"/>
                </a:ext>
              </a:extLst>
            </p:cNvPr>
            <p:cNvSpPr/>
            <p:nvPr userDrawn="1"/>
          </p:nvSpPr>
          <p:spPr>
            <a:xfrm>
              <a:off x="9266605" y="1522885"/>
              <a:ext cx="72000" cy="72000"/>
            </a:xfrm>
            <a:custGeom>
              <a:avLst/>
              <a:gdLst>
                <a:gd name="connsiteX0" fmla="*/ -76 w 65612"/>
                <a:gd name="connsiteY0" fmla="*/ -282 h 68637"/>
                <a:gd name="connsiteX1" fmla="*/ 65536 w 65612"/>
                <a:gd name="connsiteY1" fmla="*/ -282 h 68637"/>
                <a:gd name="connsiteX2" fmla="*/ 65536 w 65612"/>
                <a:gd name="connsiteY2" fmla="*/ 68355 h 68637"/>
                <a:gd name="connsiteX3" fmla="*/ -76 w 65612"/>
                <a:gd name="connsiteY3" fmla="*/ 68355 h 68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612" h="68637">
                  <a:moveTo>
                    <a:pt x="-76" y="-282"/>
                  </a:moveTo>
                  <a:lnTo>
                    <a:pt x="65536" y="-282"/>
                  </a:lnTo>
                  <a:lnTo>
                    <a:pt x="65536" y="68355"/>
                  </a:lnTo>
                  <a:lnTo>
                    <a:pt x="-76" y="68355"/>
                  </a:lnTo>
                  <a:close/>
                </a:path>
              </a:pathLst>
            </a:custGeom>
            <a:solidFill>
              <a:srgbClr val="CC2869"/>
            </a:solidFill>
            <a:ln w="36417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82882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8861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B3670-7CFA-4AE8-BD91-982E0BBFB5F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20507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6938" y="1527914"/>
            <a:ext cx="11630742" cy="3632421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800" indent="-228600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3000" indent="-228600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400" indent="-228600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/>
          <a:lstStyle>
            <a:lvl1pPr>
              <a:defRPr lang="fr-FR" sz="200" b="0" i="0" u="none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r>
              <a:rPr lang="fr-FR"/>
              <a:t>5acXjzUk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B3670-7CFA-4AE8-BD91-982E0BBFB5F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029518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42522B85-D6DF-46A7-B24E-52A32CB59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46638" y="331788"/>
            <a:ext cx="7010400" cy="5624512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4EFCF7A-4FDC-477C-A77D-0606E5BF16F5}"/>
              </a:ext>
            </a:extLst>
          </p:cNvPr>
          <p:cNvSpPr/>
          <p:nvPr userDrawn="1"/>
        </p:nvSpPr>
        <p:spPr>
          <a:xfrm>
            <a:off x="334541" y="332655"/>
            <a:ext cx="4178698" cy="56249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C848672-1122-4BA5-8D35-A172A4FEFD02}"/>
              </a:ext>
            </a:extLst>
          </p:cNvPr>
          <p:cNvSpPr/>
          <p:nvPr userDrawn="1"/>
        </p:nvSpPr>
        <p:spPr>
          <a:xfrm>
            <a:off x="0" y="0"/>
            <a:ext cx="12191964" cy="3314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F133FE5-8647-4650-ACEB-B9F50EB74DA5}"/>
              </a:ext>
            </a:extLst>
          </p:cNvPr>
          <p:cNvSpPr/>
          <p:nvPr userDrawn="1"/>
        </p:nvSpPr>
        <p:spPr>
          <a:xfrm>
            <a:off x="0" y="5957617"/>
            <a:ext cx="12191964" cy="1605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08F71AB-EFFA-438B-8ABA-2AEE0B23049A}"/>
              </a:ext>
            </a:extLst>
          </p:cNvPr>
          <p:cNvSpPr/>
          <p:nvPr userDrawn="1"/>
        </p:nvSpPr>
        <p:spPr>
          <a:xfrm rot="5400000">
            <a:off x="-2892623" y="2892623"/>
            <a:ext cx="6118200" cy="332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B5FE175-2F9E-435C-BAB6-90A402347EDA}"/>
              </a:ext>
            </a:extLst>
          </p:cNvPr>
          <p:cNvSpPr/>
          <p:nvPr userDrawn="1"/>
        </p:nvSpPr>
        <p:spPr>
          <a:xfrm rot="5400000">
            <a:off x="9042900" y="2969100"/>
            <a:ext cx="61182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E777CA9-4D47-4861-9043-BCB74035B746}"/>
              </a:ext>
            </a:extLst>
          </p:cNvPr>
          <p:cNvSpPr/>
          <p:nvPr userDrawn="1"/>
        </p:nvSpPr>
        <p:spPr>
          <a:xfrm>
            <a:off x="4513239" y="243086"/>
            <a:ext cx="332954" cy="57957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AD2E305-C565-4E36-9BA7-9C436F0DD4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2749" y="1475926"/>
            <a:ext cx="745397" cy="369332"/>
          </a:xfrm>
        </p:spPr>
        <p:txBody>
          <a:bodyPr wrap="none"/>
          <a:lstStyle>
            <a:lvl1pPr marL="0" indent="0">
              <a:buNone/>
              <a:defRPr sz="2400" cap="all" baseline="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520186D-9522-46AF-BC2E-1AB61CA8C2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2748" y="5116103"/>
            <a:ext cx="3621043" cy="276999"/>
          </a:xfrm>
        </p:spPr>
        <p:txBody>
          <a:bodyPr anchor="b" anchorCtr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6700" indent="0">
              <a:buNone/>
              <a:defRPr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 marL="714375" indent="0">
              <a:buNone/>
              <a:defRPr>
                <a:solidFill>
                  <a:schemeClr val="bg1"/>
                </a:solidFill>
              </a:defRPr>
            </a:lvl4pPr>
            <a:lvl5pPr marL="1600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8D39108D-37B2-42F0-8863-3B4C0222A73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3250" y="2782669"/>
            <a:ext cx="3616325" cy="1292662"/>
          </a:xfrm>
        </p:spPr>
        <p:txBody>
          <a:bodyPr anchor="ctr" anchorCtr="0"/>
          <a:lstStyle>
            <a:lvl1pPr marL="0" indent="0">
              <a:buNone/>
              <a:defRPr sz="2800">
                <a:solidFill>
                  <a:schemeClr val="accent6"/>
                </a:solidFill>
                <a:latin typeface="+mj-lt"/>
              </a:defRPr>
            </a:lvl1pPr>
            <a:lvl2pPr>
              <a:defRPr>
                <a:solidFill>
                  <a:schemeClr val="accent6"/>
                </a:solidFill>
                <a:latin typeface="+mj-lt"/>
              </a:defRPr>
            </a:lvl2pPr>
            <a:lvl3pPr>
              <a:defRPr>
                <a:solidFill>
                  <a:schemeClr val="accent6"/>
                </a:solidFill>
                <a:latin typeface="+mj-lt"/>
              </a:defRPr>
            </a:lvl3pPr>
            <a:lvl4pPr>
              <a:defRPr>
                <a:solidFill>
                  <a:schemeClr val="accent6"/>
                </a:solidFill>
                <a:latin typeface="+mj-lt"/>
              </a:defRPr>
            </a:lvl4pPr>
            <a:lvl5pPr>
              <a:defRPr>
                <a:solidFill>
                  <a:schemeClr val="accent6"/>
                </a:solidFill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pic>
        <p:nvPicPr>
          <p:cNvPr id="13" name="Picture 11">
            <a:extLst>
              <a:ext uri="{FF2B5EF4-FFF2-40B4-BE49-F238E27FC236}">
                <a16:creationId xmlns:a16="http://schemas.microsoft.com/office/drawing/2014/main" id="{3D11B108-522E-4570-BCA2-45D731E8A1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5110" y="6193523"/>
            <a:ext cx="1580105" cy="61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94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4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4AA4F1C-4C22-495E-8105-629B35E025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900000"/>
            <a:ext cx="11412000" cy="422405"/>
          </a:xfrm>
          <a:prstGeom prst="rect">
            <a:avLst/>
          </a:prstGeom>
        </p:spPr>
        <p:txBody>
          <a:bodyPr wrap="square" lIns="0" tIns="72000" rIns="0" bIns="72000" anchor="t" anchorCtr="0">
            <a:spAutoFit/>
          </a:bodyPr>
          <a:lstStyle>
            <a:lvl1pPr marL="0" indent="0">
              <a:buNone/>
              <a:defRPr b="0" spc="9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519425B-B7FF-475E-83C3-D2793F569B2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1620000"/>
            <a:ext cx="11412000" cy="1561178"/>
          </a:xfrm>
        </p:spPr>
        <p:txBody>
          <a:bodyPr vert="horz" lIns="0" tIns="72000" rIns="0" bIns="72000" rtlCol="0">
            <a:sp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FCDD0934-BC18-4013-BC57-AEF8FD4709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-1"/>
            <a:ext cx="11412000" cy="900000"/>
          </a:xfrm>
        </p:spPr>
        <p:txBody>
          <a:bodyPr vert="horz" wrap="square" lIns="0" tIns="72000" rIns="0" bIns="72000" rtlCol="0" anchor="b" anchorCtr="0">
            <a:norm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page title</a:t>
            </a:r>
          </a:p>
        </p:txBody>
      </p:sp>
    </p:spTree>
    <p:extLst>
      <p:ext uri="{BB962C8B-B14F-4D97-AF65-F5344CB8AC3E}">
        <p14:creationId xmlns:p14="http://schemas.microsoft.com/office/powerpoint/2010/main" val="27989569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10F3FA8A-EEEE-49F0-861F-241D237B5F2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6000" y="2381478"/>
            <a:ext cx="11795998" cy="4143411"/>
          </a:xfrm>
          <a:custGeom>
            <a:avLst/>
            <a:gdLst>
              <a:gd name="connsiteX0" fmla="*/ 11770402 w 11770402"/>
              <a:gd name="connsiteY0" fmla="*/ 0 h 4143411"/>
              <a:gd name="connsiteX1" fmla="*/ 11770402 w 11770402"/>
              <a:gd name="connsiteY1" fmla="*/ 4143411 h 4143411"/>
              <a:gd name="connsiteX2" fmla="*/ 11764142 w 11770402"/>
              <a:gd name="connsiteY2" fmla="*/ 4143411 h 4143411"/>
              <a:gd name="connsiteX3" fmla="*/ 11746734 w 11770402"/>
              <a:gd name="connsiteY3" fmla="*/ 4142813 h 4143411"/>
              <a:gd name="connsiteX4" fmla="*/ 2788764 w 11770402"/>
              <a:gd name="connsiteY4" fmla="*/ 3825727 h 4143411"/>
              <a:gd name="connsiteX5" fmla="*/ 963283 w 11770402"/>
              <a:gd name="connsiteY5" fmla="*/ 3702022 h 4143411"/>
              <a:gd name="connsiteX6" fmla="*/ 402128 w 11770402"/>
              <a:gd name="connsiteY6" fmla="*/ 3542007 h 4143411"/>
              <a:gd name="connsiteX7" fmla="*/ 0 w 11770402"/>
              <a:gd name="connsiteY7" fmla="*/ 2505660 h 4143411"/>
              <a:gd name="connsiteX8" fmla="*/ 0 w 11770402"/>
              <a:gd name="connsiteY8" fmla="*/ 148319 h 4143411"/>
              <a:gd name="connsiteX9" fmla="*/ 142778 w 11770402"/>
              <a:gd name="connsiteY9" fmla="*/ 8946 h 4143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70402" h="4143411">
                <a:moveTo>
                  <a:pt x="11770402" y="0"/>
                </a:moveTo>
                <a:lnTo>
                  <a:pt x="11770402" y="4143411"/>
                </a:lnTo>
                <a:lnTo>
                  <a:pt x="11764142" y="4143411"/>
                </a:lnTo>
                <a:lnTo>
                  <a:pt x="11746734" y="4142813"/>
                </a:lnTo>
                <a:cubicBezTo>
                  <a:pt x="11254306" y="4125895"/>
                  <a:pt x="3366434" y="3854752"/>
                  <a:pt x="2788764" y="3825727"/>
                </a:cubicBezTo>
                <a:cubicBezTo>
                  <a:pt x="2192532" y="3795728"/>
                  <a:pt x="1063533" y="3711749"/>
                  <a:pt x="963283" y="3702022"/>
                </a:cubicBezTo>
                <a:cubicBezTo>
                  <a:pt x="725160" y="3679003"/>
                  <a:pt x="538618" y="3629439"/>
                  <a:pt x="402128" y="3542007"/>
                </a:cubicBezTo>
                <a:cubicBezTo>
                  <a:pt x="80875" y="3336215"/>
                  <a:pt x="0" y="2969406"/>
                  <a:pt x="0" y="2505660"/>
                </a:cubicBezTo>
                <a:lnTo>
                  <a:pt x="0" y="148319"/>
                </a:lnTo>
                <a:cubicBezTo>
                  <a:pt x="182" y="71244"/>
                  <a:pt x="64409" y="8909"/>
                  <a:pt x="142778" y="8946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E648A42-5470-4544-8311-0B6C1DAD3B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5999" y="1800000"/>
            <a:ext cx="8052881" cy="391628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None/>
              <a:defRPr sz="1600" b="0" spc="90" baseline="0">
                <a:solidFill>
                  <a:srgbClr val="696969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name</a:t>
            </a:r>
            <a:r>
              <a:rPr lang="fr-FR" dirty="0"/>
              <a:t>, </a:t>
            </a:r>
            <a:r>
              <a:rPr lang="fr-FR" dirty="0" err="1"/>
              <a:t>title</a:t>
            </a:r>
            <a:r>
              <a:rPr lang="fr-FR" dirty="0"/>
              <a:t>, mail</a:t>
            </a:r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FCCCE3E-02E1-414B-B415-15EA0AE463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5999" y="1154050"/>
            <a:ext cx="8052882" cy="42240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>
              <a:buNone/>
              <a:defRPr sz="1800" spc="90" baseline="0">
                <a:solidFill>
                  <a:srgbClr val="696969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CBF98F42-EA67-43BD-BF74-DC2241510E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999" y="0"/>
            <a:ext cx="8052882" cy="900000"/>
          </a:xfrm>
        </p:spPr>
        <p:txBody>
          <a:bodyPr vert="horz" wrap="square" lIns="0" tIns="72000" rIns="0" bIns="72000" rtlCol="0" anchor="b" anchorCtr="0">
            <a:norm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page title</a:t>
            </a:r>
          </a:p>
        </p:txBody>
      </p:sp>
      <p:cxnSp>
        <p:nvCxnSpPr>
          <p:cNvPr id="13" name="Straight Connector 14">
            <a:extLst>
              <a:ext uri="{FF2B5EF4-FFF2-40B4-BE49-F238E27FC236}">
                <a16:creationId xmlns:a16="http://schemas.microsoft.com/office/drawing/2014/main" id="{F1D55521-E097-4230-996C-1501BCFE0DCD}"/>
              </a:ext>
            </a:extLst>
          </p:cNvPr>
          <p:cNvCxnSpPr>
            <a:cxnSpLocks/>
          </p:cNvCxnSpPr>
          <p:nvPr userDrawn="1"/>
        </p:nvCxnSpPr>
        <p:spPr>
          <a:xfrm>
            <a:off x="384627" y="900000"/>
            <a:ext cx="2452451" cy="0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1">
            <a:extLst>
              <a:ext uri="{FF2B5EF4-FFF2-40B4-BE49-F238E27FC236}">
                <a16:creationId xmlns:a16="http://schemas.microsoft.com/office/drawing/2014/main" id="{E9A85FBE-EDD2-9E49-CF1E-4B4317AADD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6171" y="351509"/>
            <a:ext cx="3721395" cy="1440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0559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10F3FA8A-EEEE-49F0-861F-241D237B5F2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6000" y="2381478"/>
            <a:ext cx="11807371" cy="4143411"/>
          </a:xfrm>
          <a:custGeom>
            <a:avLst/>
            <a:gdLst>
              <a:gd name="connsiteX0" fmla="*/ 11770402 w 11770402"/>
              <a:gd name="connsiteY0" fmla="*/ 0 h 4143411"/>
              <a:gd name="connsiteX1" fmla="*/ 11770402 w 11770402"/>
              <a:gd name="connsiteY1" fmla="*/ 4143411 h 4143411"/>
              <a:gd name="connsiteX2" fmla="*/ 11764142 w 11770402"/>
              <a:gd name="connsiteY2" fmla="*/ 4143411 h 4143411"/>
              <a:gd name="connsiteX3" fmla="*/ 11746734 w 11770402"/>
              <a:gd name="connsiteY3" fmla="*/ 4142813 h 4143411"/>
              <a:gd name="connsiteX4" fmla="*/ 2788764 w 11770402"/>
              <a:gd name="connsiteY4" fmla="*/ 3825727 h 4143411"/>
              <a:gd name="connsiteX5" fmla="*/ 963283 w 11770402"/>
              <a:gd name="connsiteY5" fmla="*/ 3702022 h 4143411"/>
              <a:gd name="connsiteX6" fmla="*/ 402128 w 11770402"/>
              <a:gd name="connsiteY6" fmla="*/ 3542007 h 4143411"/>
              <a:gd name="connsiteX7" fmla="*/ 0 w 11770402"/>
              <a:gd name="connsiteY7" fmla="*/ 2505660 h 4143411"/>
              <a:gd name="connsiteX8" fmla="*/ 0 w 11770402"/>
              <a:gd name="connsiteY8" fmla="*/ 148319 h 4143411"/>
              <a:gd name="connsiteX9" fmla="*/ 142778 w 11770402"/>
              <a:gd name="connsiteY9" fmla="*/ 8946 h 4143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70402" h="4143411">
                <a:moveTo>
                  <a:pt x="11770402" y="0"/>
                </a:moveTo>
                <a:lnTo>
                  <a:pt x="11770402" y="4143411"/>
                </a:lnTo>
                <a:lnTo>
                  <a:pt x="11764142" y="4143411"/>
                </a:lnTo>
                <a:lnTo>
                  <a:pt x="11746734" y="4142813"/>
                </a:lnTo>
                <a:cubicBezTo>
                  <a:pt x="11254306" y="4125895"/>
                  <a:pt x="3366434" y="3854752"/>
                  <a:pt x="2788764" y="3825727"/>
                </a:cubicBezTo>
                <a:cubicBezTo>
                  <a:pt x="2192532" y="3795728"/>
                  <a:pt x="1063533" y="3711749"/>
                  <a:pt x="963283" y="3702022"/>
                </a:cubicBezTo>
                <a:cubicBezTo>
                  <a:pt x="725160" y="3679003"/>
                  <a:pt x="538618" y="3629439"/>
                  <a:pt x="402128" y="3542007"/>
                </a:cubicBezTo>
                <a:cubicBezTo>
                  <a:pt x="80875" y="3336215"/>
                  <a:pt x="0" y="2969406"/>
                  <a:pt x="0" y="2505660"/>
                </a:cubicBezTo>
                <a:lnTo>
                  <a:pt x="0" y="148319"/>
                </a:lnTo>
                <a:cubicBezTo>
                  <a:pt x="182" y="71244"/>
                  <a:pt x="64409" y="8909"/>
                  <a:pt x="142778" y="8946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E648A42-5470-4544-8311-0B6C1DAD3B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1800000"/>
            <a:ext cx="8053200" cy="391628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None/>
              <a:defRPr sz="1600" b="0" spc="9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name</a:t>
            </a:r>
            <a:r>
              <a:rPr lang="fr-FR" dirty="0"/>
              <a:t>, </a:t>
            </a:r>
            <a:r>
              <a:rPr lang="fr-FR" dirty="0" err="1"/>
              <a:t>title</a:t>
            </a:r>
            <a:r>
              <a:rPr lang="fr-FR" dirty="0"/>
              <a:t>, mail</a:t>
            </a:r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FCCCE3E-02E1-414B-B415-15EA0AE463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6000" y="1433656"/>
            <a:ext cx="8053200" cy="31393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buNone/>
              <a:defRPr sz="1600" spc="9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CBF98F42-EA67-43BD-BF74-DC2241510E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1"/>
            <a:ext cx="8052882" cy="900000"/>
          </a:xfrm>
        </p:spPr>
        <p:txBody>
          <a:bodyPr vert="horz" wrap="square" lIns="0" tIns="72000" rIns="0" bIns="72000" rtlCol="0" anchor="b" anchorCtr="0">
            <a:norm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page tit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496C213-7819-4CF6-A550-7246B2938E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6000" y="1067312"/>
            <a:ext cx="8053200" cy="31393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buNone/>
              <a:defRPr sz="1600" cap="all" spc="9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business group</a:t>
            </a:r>
            <a:endParaRPr lang="en-US" dirty="0"/>
          </a:p>
        </p:txBody>
      </p:sp>
      <p:cxnSp>
        <p:nvCxnSpPr>
          <p:cNvPr id="12" name="Straight Connector 14">
            <a:extLst>
              <a:ext uri="{FF2B5EF4-FFF2-40B4-BE49-F238E27FC236}">
                <a16:creationId xmlns:a16="http://schemas.microsoft.com/office/drawing/2014/main" id="{704C96A2-DDA5-4727-9850-CC76D1C3D6E9}"/>
              </a:ext>
            </a:extLst>
          </p:cNvPr>
          <p:cNvCxnSpPr>
            <a:cxnSpLocks/>
          </p:cNvCxnSpPr>
          <p:nvPr userDrawn="1"/>
        </p:nvCxnSpPr>
        <p:spPr>
          <a:xfrm>
            <a:off x="384627" y="900000"/>
            <a:ext cx="2452451" cy="0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1">
            <a:extLst>
              <a:ext uri="{FF2B5EF4-FFF2-40B4-BE49-F238E27FC236}">
                <a16:creationId xmlns:a16="http://schemas.microsoft.com/office/drawing/2014/main" id="{8B7BA1FE-57DB-97F9-7B81-2FED4A5263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6171" y="351509"/>
            <a:ext cx="3721395" cy="1440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268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6">
            <a:extLst>
              <a:ext uri="{FF2B5EF4-FFF2-40B4-BE49-F238E27FC236}">
                <a16:creationId xmlns:a16="http://schemas.microsoft.com/office/drawing/2014/main" id="{2D32B343-2D4C-49DF-AB23-01BD9157E137}"/>
              </a:ext>
            </a:extLst>
          </p:cNvPr>
          <p:cNvSpPr/>
          <p:nvPr userDrawn="1"/>
        </p:nvSpPr>
        <p:spPr>
          <a:xfrm>
            <a:off x="2685039" y="566"/>
            <a:ext cx="8269696" cy="6864433"/>
          </a:xfrm>
          <a:custGeom>
            <a:avLst/>
            <a:gdLst>
              <a:gd name="connsiteX0" fmla="*/ 7698197 w 7698740"/>
              <a:gd name="connsiteY0" fmla="*/ -51 h 6390499"/>
              <a:gd name="connsiteX1" fmla="*/ 7698741 w 7698740"/>
              <a:gd name="connsiteY1" fmla="*/ 1076049 h 6390499"/>
              <a:gd name="connsiteX2" fmla="*/ 1780321 w 7698740"/>
              <a:gd name="connsiteY2" fmla="*/ 1072976 h 6390499"/>
              <a:gd name="connsiteX3" fmla="*/ 2422520 w 7698740"/>
              <a:gd name="connsiteY3" fmla="*/ 1520085 h 6390499"/>
              <a:gd name="connsiteX4" fmla="*/ 5723310 w 7698740"/>
              <a:gd name="connsiteY4" fmla="*/ 1809844 h 6390499"/>
              <a:gd name="connsiteX5" fmla="*/ 5726764 w 7698740"/>
              <a:gd name="connsiteY5" fmla="*/ 4164257 h 6390499"/>
              <a:gd name="connsiteX6" fmla="*/ 2576474 w 7698740"/>
              <a:gd name="connsiteY6" fmla="*/ 4438538 h 6390499"/>
              <a:gd name="connsiteX7" fmla="*/ 1782420 w 7698740"/>
              <a:gd name="connsiteY7" fmla="*/ 4892944 h 6390499"/>
              <a:gd name="connsiteX8" fmla="*/ 1783263 w 7698740"/>
              <a:gd name="connsiteY8" fmla="*/ 6390449 h 6390499"/>
              <a:gd name="connsiteX9" fmla="*/ 0 w 7698740"/>
              <a:gd name="connsiteY9" fmla="*/ 6389478 h 6390499"/>
              <a:gd name="connsiteX10" fmla="*/ 1552 w 7698740"/>
              <a:gd name="connsiteY10" fmla="*/ 4441837 h 6390499"/>
              <a:gd name="connsiteX11" fmla="*/ 676679 w 7698740"/>
              <a:gd name="connsiteY11" fmla="*/ 3404288 h 6390499"/>
              <a:gd name="connsiteX12" fmla="*/ 4839998 w 7698740"/>
              <a:gd name="connsiteY12" fmla="*/ 3142116 h 6390499"/>
              <a:gd name="connsiteX13" fmla="*/ 4837398 w 7698740"/>
              <a:gd name="connsiteY13" fmla="*/ 2897215 h 6390499"/>
              <a:gd name="connsiteX14" fmla="*/ 706308 w 7698740"/>
              <a:gd name="connsiteY14" fmla="*/ 2665673 h 6390499"/>
              <a:gd name="connsiteX15" fmla="*/ 11515 w 7698740"/>
              <a:gd name="connsiteY15" fmla="*/ 1612425 h 6390499"/>
              <a:gd name="connsiteX16" fmla="*/ 10642 w 7698740"/>
              <a:gd name="connsiteY16" fmla="*/ 6694 h 6390499"/>
              <a:gd name="connsiteX17" fmla="*/ 10708 w 7698740"/>
              <a:gd name="connsiteY17" fmla="*/ -51 h 6390499"/>
              <a:gd name="connsiteX18" fmla="*/ 7698197 w 7698740"/>
              <a:gd name="connsiteY18" fmla="*/ -51 h 6390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698740" h="6390499">
                <a:moveTo>
                  <a:pt x="7698197" y="-51"/>
                </a:moveTo>
                <a:lnTo>
                  <a:pt x="7698741" y="1076049"/>
                </a:lnTo>
                <a:lnTo>
                  <a:pt x="1780321" y="1072976"/>
                </a:lnTo>
                <a:cubicBezTo>
                  <a:pt x="1780449" y="1378422"/>
                  <a:pt x="1732905" y="1461091"/>
                  <a:pt x="2422520" y="1520085"/>
                </a:cubicBezTo>
                <a:cubicBezTo>
                  <a:pt x="2951944" y="1565366"/>
                  <a:pt x="4659175" y="1705507"/>
                  <a:pt x="5723310" y="1809844"/>
                </a:cubicBezTo>
                <a:cubicBezTo>
                  <a:pt x="7050510" y="1939959"/>
                  <a:pt x="7053149" y="4033384"/>
                  <a:pt x="5726764" y="4164257"/>
                </a:cubicBezTo>
                <a:cubicBezTo>
                  <a:pt x="4663289" y="4269126"/>
                  <a:pt x="3036747" y="4393905"/>
                  <a:pt x="2576474" y="4438538"/>
                </a:cubicBezTo>
                <a:cubicBezTo>
                  <a:pt x="2116200" y="4483210"/>
                  <a:pt x="1782261" y="4600964"/>
                  <a:pt x="1782420" y="4892944"/>
                </a:cubicBezTo>
                <a:lnTo>
                  <a:pt x="1783263" y="6390449"/>
                </a:lnTo>
                <a:lnTo>
                  <a:pt x="0" y="6389478"/>
                </a:lnTo>
                <a:lnTo>
                  <a:pt x="1552" y="4441837"/>
                </a:lnTo>
                <a:cubicBezTo>
                  <a:pt x="2267" y="4005634"/>
                  <a:pt x="97514" y="3495418"/>
                  <a:pt x="676679" y="3404288"/>
                </a:cubicBezTo>
                <a:cubicBezTo>
                  <a:pt x="1255845" y="3313112"/>
                  <a:pt x="4839998" y="3142116"/>
                  <a:pt x="4839998" y="3142116"/>
                </a:cubicBezTo>
                <a:cubicBezTo>
                  <a:pt x="4946613" y="3090206"/>
                  <a:pt x="4945100" y="2947379"/>
                  <a:pt x="4837398" y="2897215"/>
                </a:cubicBezTo>
                <a:cubicBezTo>
                  <a:pt x="4837398" y="2897215"/>
                  <a:pt x="1348930" y="2760696"/>
                  <a:pt x="706308" y="2665673"/>
                </a:cubicBezTo>
                <a:cubicBezTo>
                  <a:pt x="63717" y="2570616"/>
                  <a:pt x="10673" y="2058304"/>
                  <a:pt x="11515" y="1612425"/>
                </a:cubicBezTo>
                <a:lnTo>
                  <a:pt x="10642" y="6694"/>
                </a:lnTo>
                <a:cubicBezTo>
                  <a:pt x="10646" y="4439"/>
                  <a:pt x="10669" y="2188"/>
                  <a:pt x="10708" y="-51"/>
                </a:cubicBezTo>
                <a:lnTo>
                  <a:pt x="7698197" y="-51"/>
                </a:lnTo>
                <a:close/>
              </a:path>
            </a:pathLst>
          </a:custGeom>
          <a:solidFill>
            <a:srgbClr val="E7E6E6"/>
          </a:solidFill>
          <a:ln w="32325" cap="flat">
            <a:noFill/>
            <a:prstDash val="solid"/>
            <a:round/>
          </a:ln>
        </p:spPr>
        <p:txBody>
          <a:bodyPr rtlCol="0" anchor="ctr"/>
          <a:lstStyle/>
          <a:p>
            <a:pPr lvl="0"/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C6D5416-DBDA-4E82-B2E2-3D49AC791D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558" y="597134"/>
            <a:ext cx="10616185" cy="773353"/>
          </a:xfrm>
        </p:spPr>
        <p:txBody>
          <a:bodyPr wrap="square" anchor="t" anchorCtr="0">
            <a:spAutoFit/>
          </a:bodyPr>
          <a:lstStyle>
            <a:lvl1pPr>
              <a:defRPr sz="540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2750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8.xml"/><Relationship Id="rId21" Type="http://schemas.openxmlformats.org/officeDocument/2006/relationships/slideLayout" Target="../slideLayouts/slideLayout26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slideLayout" Target="../slideLayouts/slideLayout29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3910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01" y="0"/>
            <a:ext cx="11635679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 dirty="0"/>
              <a:t>Modifiez le style du t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286938" y="6425617"/>
            <a:ext cx="266580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>
              <a:defRPr lang="fr-FR" sz="1000" smtClean="0">
                <a:latin typeface="Century Gothic" panose="020B0502020202020204" pitchFamily="34" charset="0"/>
              </a:defRPr>
            </a:lvl1pPr>
          </a:lstStyle>
          <a:p>
            <a:fld id="{233B3670-7CFA-4AE8-BD91-982E0BBFB5F8}" type="slidenum">
              <a:rPr lang="fr-FR" smtClean="0"/>
              <a:pPr/>
              <a:t>‹#›</a:t>
            </a:fld>
            <a:endParaRPr lang="fr-FR" dirty="0"/>
          </a:p>
        </p:txBody>
      </p:sp>
      <p:grpSp>
        <p:nvGrpSpPr>
          <p:cNvPr id="11" name="Groupe 10"/>
          <p:cNvGrpSpPr/>
          <p:nvPr userDrawn="1"/>
        </p:nvGrpSpPr>
        <p:grpSpPr>
          <a:xfrm>
            <a:off x="274320" y="880635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10" name="Picture 11">
            <a:extLst>
              <a:ext uri="{FF2B5EF4-FFF2-40B4-BE49-F238E27FC236}">
                <a16:creationId xmlns:a16="http://schemas.microsoft.com/office/drawing/2014/main" id="{5B2BFB87-F4A3-40C8-99B5-C95886EA09E1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5110" y="6193523"/>
            <a:ext cx="1580105" cy="61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181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rgbClr val="003684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fr-FR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SzPct val="80000"/>
        <a:buFont typeface="Arial" panose="020B0604020202020204" pitchFamily="34" charset="0"/>
        <a:buChar char="•"/>
        <a:defRPr lang="fr-FR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297AC10-825D-420A-A897-22EEA0803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0"/>
            <a:ext cx="11412000" cy="900000"/>
          </a:xfrm>
          <a:prstGeom prst="rect">
            <a:avLst/>
          </a:prstGeom>
        </p:spPr>
        <p:txBody>
          <a:bodyPr vert="horz" wrap="square" lIns="0" tIns="72000" rIns="0" bIns="72000" rtlCol="0" anchor="b" anchorCtr="0">
            <a:normAutofit/>
          </a:bodyPr>
          <a:lstStyle/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9C4E38-0DCF-469E-A25E-58CFB89A8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6000" y="1440000"/>
            <a:ext cx="11412000" cy="1561178"/>
          </a:xfrm>
          <a:prstGeom prst="rect">
            <a:avLst/>
          </a:prstGeom>
        </p:spPr>
        <p:txBody>
          <a:bodyPr vert="horz" lIns="0" tIns="72000" rIns="0" bIns="7200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4" name="Straight Connector 14">
            <a:extLst>
              <a:ext uri="{FF2B5EF4-FFF2-40B4-BE49-F238E27FC236}">
                <a16:creationId xmlns:a16="http://schemas.microsoft.com/office/drawing/2014/main" id="{991D0FEA-87F9-4B36-81A3-5041B5DC62CE}"/>
              </a:ext>
            </a:extLst>
          </p:cNvPr>
          <p:cNvCxnSpPr>
            <a:cxnSpLocks/>
          </p:cNvCxnSpPr>
          <p:nvPr userDrawn="1"/>
        </p:nvCxnSpPr>
        <p:spPr>
          <a:xfrm>
            <a:off x="384627" y="900000"/>
            <a:ext cx="2452451" cy="0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>
            <a:extLst>
              <a:ext uri="{FF2B5EF4-FFF2-40B4-BE49-F238E27FC236}">
                <a16:creationId xmlns:a16="http://schemas.microsoft.com/office/drawing/2014/main" id="{2B98C51B-6DCE-264A-D689-88AA848BE580}"/>
              </a:ext>
            </a:extLst>
          </p:cNvPr>
          <p:cNvSpPr txBox="1"/>
          <p:nvPr userDrawn="1"/>
        </p:nvSpPr>
        <p:spPr>
          <a:xfrm>
            <a:off x="1029418" y="6407971"/>
            <a:ext cx="8460000" cy="299295"/>
          </a:xfrm>
          <a:prstGeom prst="rect">
            <a:avLst/>
          </a:prstGeom>
        </p:spPr>
        <p:txBody>
          <a:bodyPr vert="horz" wrap="square" lIns="0" tIns="72000" rIns="0" bIns="72000" rtlCol="0" anchor="ctr">
            <a:spAutoFit/>
          </a:bodyPr>
          <a:lstStyle>
            <a:defPPr>
              <a:defRPr lang="en-US"/>
            </a:defPPr>
            <a:lvl1pPr>
              <a:defRPr sz="1000" b="0">
                <a:ea typeface="Verdana" panose="020B0604030504040204" pitchFamily="34" charset="0"/>
              </a:defRPr>
            </a:lvl1pPr>
          </a:lstStyle>
          <a:p>
            <a:pPr lvl="0"/>
            <a:r>
              <a:rPr lang="fr-FR" dirty="0"/>
              <a:t>Date - </a:t>
            </a:r>
            <a:r>
              <a:rPr lang="fr-FR" dirty="0" err="1"/>
              <a:t>Footer</a:t>
            </a:r>
            <a:endParaRPr lang="fr-FR" dirty="0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091F7B9-B20B-5145-E207-2313C6A4CC6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96000" y="6480674"/>
            <a:ext cx="343533" cy="153888"/>
          </a:xfrm>
          <a:prstGeom prst="rect">
            <a:avLst/>
          </a:prstGeom>
        </p:spPr>
        <p:txBody>
          <a:bodyPr vert="horz" lIns="0" tIns="72000" rIns="0" bIns="72000" rtlCol="0" anchor="ctr">
            <a:spAutoFit/>
          </a:bodyPr>
          <a:lstStyle>
            <a:defPPr>
              <a:defRPr lang="en-US"/>
            </a:defPPr>
            <a:lvl1pPr>
              <a:defRPr sz="1000" b="1">
                <a:ea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CE2AE3F1-0CE1-4D50-A158-C2B092B58652}" type="slidenum">
              <a:rPr lang="en-US" smtClean="0"/>
              <a:pPr lvl="0"/>
              <a:t>‹#›</a:t>
            </a:fld>
            <a:endParaRPr lang="en-US" dirty="0"/>
          </a:p>
        </p:txBody>
      </p:sp>
      <p:cxnSp>
        <p:nvCxnSpPr>
          <p:cNvPr id="15" name="Straight Connector 10">
            <a:extLst>
              <a:ext uri="{FF2B5EF4-FFF2-40B4-BE49-F238E27FC236}">
                <a16:creationId xmlns:a16="http://schemas.microsoft.com/office/drawing/2014/main" id="{17412201-4DE4-00C4-8FE0-351C39239F51}"/>
              </a:ext>
            </a:extLst>
          </p:cNvPr>
          <p:cNvCxnSpPr>
            <a:cxnSpLocks/>
          </p:cNvCxnSpPr>
          <p:nvPr userDrawn="1"/>
        </p:nvCxnSpPr>
        <p:spPr>
          <a:xfrm>
            <a:off x="907763" y="6469461"/>
            <a:ext cx="0" cy="176315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11">
            <a:extLst>
              <a:ext uri="{FF2B5EF4-FFF2-40B4-BE49-F238E27FC236}">
                <a16:creationId xmlns:a16="http://schemas.microsoft.com/office/drawing/2014/main" id="{2170CF83-AF24-D43F-D63B-927A8E917C9C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5110" y="6193523"/>
            <a:ext cx="1580105" cy="61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649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  <p:sldLayoutId id="2147483685" r:id="rId18"/>
    <p:sldLayoutId id="2147483686" r:id="rId19"/>
    <p:sldLayoutId id="2147483687" r:id="rId20"/>
    <p:sldLayoutId id="2147483688" r:id="rId21"/>
    <p:sldLayoutId id="2147483689" r:id="rId22"/>
    <p:sldLayoutId id="2147483690" r:id="rId23"/>
    <p:sldLayoutId id="2147483691" r:id="rId24"/>
  </p:sldLayoutIdLst>
  <p:hf sldNum="0"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spcAft>
          <a:spcPts val="0"/>
        </a:spcAft>
        <a:buNone/>
        <a:defRPr lang="en-US" sz="2400" kern="1200" spc="20" baseline="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100000"/>
        <a:buFont typeface="Segoe UI Symbol" panose="020B0502040204020203" pitchFamily="34" charset="0"/>
        <a:buChar char="❯"/>
        <a:defRPr lang="en-US" sz="1800" b="1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100000"/>
        <a:buFont typeface="Segoe UI Symbol" panose="020B0502040204020203" pitchFamily="34" charset="0"/>
        <a:buChar char="⚬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5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5" Type="http://schemas.openxmlformats.org/officeDocument/2006/relationships/image" Target="../media/image6.pn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5EB0B3-1946-6FBF-A872-D7C492008F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02.Feb.2023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689E3C2-DC36-454C-382E-E70F2121698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CM Supply Chain - Operations</a:t>
            </a:r>
            <a:endParaRPr lang="fr-FR" dirty="0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FC2FEE01-DE26-0DC2-8F39-B886E029C1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998" y="333110"/>
            <a:ext cx="8862302" cy="566889"/>
          </a:xfrm>
        </p:spPr>
        <p:txBody>
          <a:bodyPr/>
          <a:lstStyle/>
          <a:p>
            <a:r>
              <a:rPr lang="fr-FR" dirty="0"/>
              <a:t>FCM Master data audit 2023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C641028C-B960-F113-5568-A5F2D572896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47" b="7747"/>
          <a:stretch>
            <a:fillRect/>
          </a:stretch>
        </p:blipFill>
        <p:spPr>
          <a:xfrm>
            <a:off x="396002" y="2381478"/>
            <a:ext cx="11360569" cy="4143411"/>
          </a:xfrm>
          <a:custGeom>
            <a:avLst/>
            <a:gdLst>
              <a:gd name="connsiteX0" fmla="*/ 11770402 w 11770402"/>
              <a:gd name="connsiteY0" fmla="*/ 0 h 4143411"/>
              <a:gd name="connsiteX1" fmla="*/ 11770402 w 11770402"/>
              <a:gd name="connsiteY1" fmla="*/ 4143411 h 4143411"/>
              <a:gd name="connsiteX2" fmla="*/ 11764142 w 11770402"/>
              <a:gd name="connsiteY2" fmla="*/ 4143411 h 4143411"/>
              <a:gd name="connsiteX3" fmla="*/ 11746734 w 11770402"/>
              <a:gd name="connsiteY3" fmla="*/ 4142813 h 4143411"/>
              <a:gd name="connsiteX4" fmla="*/ 2788764 w 11770402"/>
              <a:gd name="connsiteY4" fmla="*/ 3825727 h 4143411"/>
              <a:gd name="connsiteX5" fmla="*/ 963283 w 11770402"/>
              <a:gd name="connsiteY5" fmla="*/ 3702022 h 4143411"/>
              <a:gd name="connsiteX6" fmla="*/ 402128 w 11770402"/>
              <a:gd name="connsiteY6" fmla="*/ 3542007 h 4143411"/>
              <a:gd name="connsiteX7" fmla="*/ 0 w 11770402"/>
              <a:gd name="connsiteY7" fmla="*/ 2505660 h 4143411"/>
              <a:gd name="connsiteX8" fmla="*/ 0 w 11770402"/>
              <a:gd name="connsiteY8" fmla="*/ 148319 h 4143411"/>
              <a:gd name="connsiteX9" fmla="*/ 142778 w 11770402"/>
              <a:gd name="connsiteY9" fmla="*/ 8946 h 4143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70402" h="4143411">
                <a:moveTo>
                  <a:pt x="11770402" y="0"/>
                </a:moveTo>
                <a:lnTo>
                  <a:pt x="11770402" y="4143411"/>
                </a:lnTo>
                <a:lnTo>
                  <a:pt x="11764142" y="4143411"/>
                </a:lnTo>
                <a:lnTo>
                  <a:pt x="11746734" y="4142813"/>
                </a:lnTo>
                <a:cubicBezTo>
                  <a:pt x="11254306" y="4125895"/>
                  <a:pt x="3366434" y="3854752"/>
                  <a:pt x="2788764" y="3825727"/>
                </a:cubicBezTo>
                <a:cubicBezTo>
                  <a:pt x="2192532" y="3795728"/>
                  <a:pt x="1063533" y="3711749"/>
                  <a:pt x="963283" y="3702022"/>
                </a:cubicBezTo>
                <a:cubicBezTo>
                  <a:pt x="725160" y="3679003"/>
                  <a:pt x="538618" y="3629439"/>
                  <a:pt x="402128" y="3542007"/>
                </a:cubicBezTo>
                <a:cubicBezTo>
                  <a:pt x="80875" y="3336215"/>
                  <a:pt x="0" y="2969406"/>
                  <a:pt x="0" y="2505660"/>
                </a:cubicBezTo>
                <a:lnTo>
                  <a:pt x="0" y="148319"/>
                </a:lnTo>
                <a:cubicBezTo>
                  <a:pt x="182" y="71244"/>
                  <a:pt x="64409" y="8909"/>
                  <a:pt x="142778" y="8946"/>
                </a:cubicBezTo>
                <a:close/>
              </a:path>
            </a:pathLst>
          </a:custGeom>
          <a:noFill/>
        </p:spPr>
      </p:pic>
      <p:sp>
        <p:nvSpPr>
          <p:cNvPr id="7" name="BJPseudoFooter">
            <a:extLst>
              <a:ext uri="{FF2B5EF4-FFF2-40B4-BE49-F238E27FC236}">
                <a16:creationId xmlns:a16="http://schemas.microsoft.com/office/drawing/2014/main" id="{7A5A69AF-2D82-41FB-A61A-4AC8326B42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7000" y="6722189"/>
            <a:ext cx="11938000" cy="12311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00">
                <a:solidFill>
                  <a:srgbClr val="FFFFFF"/>
                </a:solidFill>
                <a:latin typeface="Arial" panose="020B0604020202020204" pitchFamily="34" charset="0"/>
              </a:rPr>
              <a:t>5acXjzUk</a:t>
            </a:r>
          </a:p>
        </p:txBody>
      </p:sp>
      <p:pic>
        <p:nvPicPr>
          <p:cNvPr id="17" name="bjClassifierImageTop">
            <a:extLst>
              <a:ext uri="{FF2B5EF4-FFF2-40B4-BE49-F238E27FC236}">
                <a16:creationId xmlns:a16="http://schemas.microsoft.com/office/drawing/2014/main" id="{FE049563-57AB-4C8C-A486-1F3EA1C2FC1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6239" y="12700"/>
            <a:ext cx="1359411" cy="445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1633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828C97-5DB4-4449-901D-6F0F24FD80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aster data </a:t>
            </a:r>
            <a:r>
              <a:rPr lang="en-US" b="1" dirty="0">
                <a:latin typeface="Century Gothic" panose="020B0502020202020204" pitchFamily="34" charset="0"/>
              </a:rPr>
              <a:t>Auditing Plan of 2023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endParaRPr lang="fr-F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2A5F14-967B-41AA-884D-6776486AC9B8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FR"/>
              <a:t>5acXjzU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49E7E8-0EE6-4FC6-BC70-312C6A4CD0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6</a:t>
            </a:r>
            <a:endParaRPr lang="fr-FR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6C274B2-9AF8-405B-8AC6-C23DC26F34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6938" y="1070170"/>
            <a:ext cx="11630742" cy="432059"/>
          </a:xfrm>
        </p:spPr>
        <p:txBody>
          <a:bodyPr/>
          <a:lstStyle/>
          <a:p>
            <a:r>
              <a:rPr lang="en-US" dirty="0"/>
              <a:t>Auditing Year Plan in general view: Feb to Ju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C0A36-FBBB-4CAE-B1BD-1735DE17DB0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30381" y="1502229"/>
            <a:ext cx="6331236" cy="5096587"/>
          </a:xfrm>
          <a:prstGeom prst="rect">
            <a:avLst/>
          </a:prstGeom>
        </p:spPr>
      </p:pic>
      <p:pic>
        <p:nvPicPr>
          <p:cNvPr id="12" name="bjClassifierImageTop">
            <a:extLst>
              <a:ext uri="{FF2B5EF4-FFF2-40B4-BE49-F238E27FC236}">
                <a16:creationId xmlns:a16="http://schemas.microsoft.com/office/drawing/2014/main" id="{123B52A1-0C8E-4385-A273-01FEA333365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6239" y="12700"/>
            <a:ext cx="1359411" cy="445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5648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5acXjzUk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1884"/>
                </a:solidFill>
              </a:rPr>
              <a:t>1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18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pSp>
        <p:nvGrpSpPr>
          <p:cNvPr id="12" name="Groupe 9"/>
          <p:cNvGrpSpPr/>
          <p:nvPr/>
        </p:nvGrpSpPr>
        <p:grpSpPr>
          <a:xfrm>
            <a:off x="2089150" y="2490646"/>
            <a:ext cx="8013700" cy="653272"/>
            <a:chOff x="1031086" y="1826457"/>
            <a:chExt cx="10090570" cy="653272"/>
          </a:xfrm>
        </p:grpSpPr>
        <p:sp>
          <p:nvSpPr>
            <p:cNvPr id="13" name="Rectangle 12"/>
            <p:cNvSpPr/>
            <p:nvPr userDrawn="1"/>
          </p:nvSpPr>
          <p:spPr>
            <a:xfrm>
              <a:off x="2014780" y="1826457"/>
              <a:ext cx="9106876" cy="653272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72000" bIns="72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394200" algn="l"/>
                </a:tabLst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Master data </a:t>
              </a:r>
              <a:r>
                <a:rPr lang="en-US" b="1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Auditing Target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1031086" y="1826457"/>
              <a:ext cx="800692" cy="653272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24" name="Groupe 15"/>
          <p:cNvGrpSpPr/>
          <p:nvPr/>
        </p:nvGrpSpPr>
        <p:grpSpPr>
          <a:xfrm>
            <a:off x="2089150" y="3341059"/>
            <a:ext cx="8013700" cy="653272"/>
            <a:chOff x="1031086" y="3820959"/>
            <a:chExt cx="10090574" cy="653272"/>
          </a:xfrm>
        </p:grpSpPr>
        <p:sp>
          <p:nvSpPr>
            <p:cNvPr id="26" name="Rectangle 25"/>
            <p:cNvSpPr/>
            <p:nvPr/>
          </p:nvSpPr>
          <p:spPr>
            <a:xfrm>
              <a:off x="1031086" y="3820959"/>
              <a:ext cx="800692" cy="653272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2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2014780" y="3820959"/>
              <a:ext cx="9106876" cy="65327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72000" bIns="72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394200" algn="l"/>
                </a:tabLst>
                <a:defRPr/>
              </a:pPr>
              <a:r>
                <a:rPr lang="en-US" b="1" dirty="0">
                  <a:solidFill>
                    <a:srgbClr val="001884"/>
                  </a:solidFill>
                  <a:latin typeface="Century Gothic" panose="020B0502020202020204" pitchFamily="34" charset="0"/>
                </a:rPr>
                <a:t>2023 Auditing Plan for FCM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18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20" name="bjClassifierImageTop">
            <a:extLst>
              <a:ext uri="{FF2B5EF4-FFF2-40B4-BE49-F238E27FC236}">
                <a16:creationId xmlns:a16="http://schemas.microsoft.com/office/drawing/2014/main" id="{BB21011A-A16A-4E84-AB40-C1D56C4E2C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6239" y="12700"/>
            <a:ext cx="1359411" cy="445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593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828C97-5DB4-4449-901D-6F0F24FD80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aster data </a:t>
            </a:r>
            <a:r>
              <a:rPr lang="en-US" b="1" dirty="0">
                <a:latin typeface="Century Gothic" panose="020B0502020202020204" pitchFamily="34" charset="0"/>
              </a:rPr>
              <a:t>Auditing Targe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endParaRPr lang="fr-F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2A5F14-967B-41AA-884D-6776486AC9B8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FR"/>
              <a:t>5acXjzU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49E7E8-0EE6-4FC6-BC70-312C6A4CD0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2</a:t>
            </a:r>
            <a:endParaRPr lang="fr-FR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6C274B2-9AF8-405B-8AC6-C23DC26F34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6938" y="1109358"/>
            <a:ext cx="11630742" cy="1708544"/>
          </a:xfrm>
        </p:spPr>
        <p:txBody>
          <a:bodyPr/>
          <a:lstStyle/>
          <a:p>
            <a:r>
              <a:rPr lang="en-US" dirty="0"/>
              <a:t>Objective:</a:t>
            </a:r>
          </a:p>
          <a:p>
            <a:pPr marL="457200" indent="-457200">
              <a:buAutoNum type="arabicPeriod"/>
            </a:pPr>
            <a:r>
              <a:rPr lang="en-US" sz="1800" b="0" dirty="0">
                <a:latin typeface="Segoe UI" panose="020B0502040204020203" pitchFamily="34" charset="0"/>
                <a:cs typeface="Segoe UI" panose="020B0502040204020203" pitchFamily="34" charset="0"/>
              </a:rPr>
              <a:t>Make sure the Master Data KPIs which collected from SAP system are 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true/reality</a:t>
            </a:r>
          </a:p>
          <a:p>
            <a:pPr marL="457200" indent="-457200">
              <a:buAutoNum type="arabicPeriod"/>
            </a:pPr>
            <a:r>
              <a:rPr lang="en-US" sz="1800" b="0" dirty="0">
                <a:latin typeface="Segoe UI" panose="020B0502040204020203" pitchFamily="34" charset="0"/>
                <a:cs typeface="Segoe UI" panose="020B0502040204020203" pitchFamily="34" charset="0"/>
              </a:rPr>
              <a:t>Make sure the Master Data KPIs calculating process of SAP system are 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correct</a:t>
            </a:r>
            <a:r>
              <a:rPr lang="en-US" sz="1800" b="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457200" indent="-457200">
              <a:buAutoNum type="arabicPeriod"/>
            </a:pPr>
            <a:r>
              <a:rPr lang="en-US" sz="1800" b="0" dirty="0">
                <a:latin typeface="Segoe UI" panose="020B0502040204020203" pitchFamily="34" charset="0"/>
                <a:cs typeface="Segoe UI" panose="020B0502040204020203" pitchFamily="34" charset="0"/>
              </a:rPr>
              <a:t>Maintain the Accuracy and Consistency </a:t>
            </a:r>
            <a:endParaRPr lang="fr-FR" sz="1800" b="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8AAC9AB-4D7C-4A56-8839-741D218BE9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5275" y="3882717"/>
            <a:ext cx="4755475" cy="2669647"/>
          </a:xfrm>
          <a:prstGeom prst="rect">
            <a:avLst/>
          </a:prstGeom>
        </p:spPr>
      </p:pic>
      <p:sp>
        <p:nvSpPr>
          <p:cNvPr id="18" name="Arrow: Down 17">
            <a:extLst>
              <a:ext uri="{FF2B5EF4-FFF2-40B4-BE49-F238E27FC236}">
                <a16:creationId xmlns:a16="http://schemas.microsoft.com/office/drawing/2014/main" id="{F5270734-670B-44C0-8482-3B641A1E7AEA}"/>
              </a:ext>
            </a:extLst>
          </p:cNvPr>
          <p:cNvSpPr/>
          <p:nvPr/>
        </p:nvSpPr>
        <p:spPr>
          <a:xfrm>
            <a:off x="5443196" y="2728163"/>
            <a:ext cx="339634" cy="437369"/>
          </a:xfrm>
          <a:prstGeom prst="downArrow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highlight>
                <a:srgbClr val="FFFF00"/>
              </a:highlight>
            </a:endParaRPr>
          </a:p>
        </p:txBody>
      </p:sp>
      <p:sp>
        <p:nvSpPr>
          <p:cNvPr id="19" name="Content Placeholder 10">
            <a:extLst>
              <a:ext uri="{FF2B5EF4-FFF2-40B4-BE49-F238E27FC236}">
                <a16:creationId xmlns:a16="http://schemas.microsoft.com/office/drawing/2014/main" id="{03294D37-AC55-4933-93B4-FBD1155B9938}"/>
              </a:ext>
            </a:extLst>
          </p:cNvPr>
          <p:cNvSpPr txBox="1">
            <a:spLocks/>
          </p:cNvSpPr>
          <p:nvPr/>
        </p:nvSpPr>
        <p:spPr>
          <a:xfrm>
            <a:off x="290668" y="3108549"/>
            <a:ext cx="11610663" cy="8316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fr-FR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Results: </a:t>
            </a:r>
            <a:r>
              <a:rPr lang="en-US" sz="1800" b="0" dirty="0">
                <a:latin typeface="Segoe UI" panose="020B0502040204020203" pitchFamily="34" charset="0"/>
                <a:cs typeface="Segoe UI" panose="020B0502040204020203" pitchFamily="34" charset="0"/>
              </a:rPr>
              <a:t>We are 100% confident with the Master Data KPIs that collected from SAP Plant level, and we could trust the centralized KPI Dashboard showing weekly like below</a:t>
            </a:r>
            <a:endParaRPr lang="en-US" b="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9" name="bjClassifierImageTop">
            <a:extLst>
              <a:ext uri="{FF2B5EF4-FFF2-40B4-BE49-F238E27FC236}">
                <a16:creationId xmlns:a16="http://schemas.microsoft.com/office/drawing/2014/main" id="{1D6CF805-6EAB-40F5-9EE5-C06D93D4BD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6239" y="12700"/>
            <a:ext cx="1359411" cy="445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7843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1B6C79-9EF3-451A-9B48-B31EE48C3B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Accuracy result - explan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A3F2CA-FC24-4E11-808D-55EEE597F3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2000" y="1013639"/>
            <a:ext cx="11635679" cy="4903669"/>
          </a:xfrm>
        </p:spPr>
        <p:txBody>
          <a:bodyPr>
            <a:normAutofit/>
          </a:bodyPr>
          <a:lstStyle/>
          <a:p>
            <a:r>
              <a:rPr lang="es-ES" dirty="0" err="1"/>
              <a:t>Accuracy</a:t>
            </a:r>
            <a:r>
              <a:rPr lang="es-ES" dirty="0"/>
              <a:t> </a:t>
            </a:r>
            <a:r>
              <a:rPr lang="fr-FR" dirty="0" err="1"/>
              <a:t>means</a:t>
            </a:r>
            <a:r>
              <a:rPr lang="fr-FR" dirty="0"/>
              <a:t> :</a:t>
            </a:r>
            <a:endParaRPr lang="es-ES" sz="1600" dirty="0"/>
          </a:p>
          <a:p>
            <a:pPr lvl="2"/>
            <a:r>
              <a:rPr lang="en-US" dirty="0"/>
              <a:t>the data value is the correct one.</a:t>
            </a:r>
            <a:endParaRPr lang="en-US" sz="1600" dirty="0"/>
          </a:p>
          <a:p>
            <a:pPr lvl="2"/>
            <a:endParaRPr lang="en-US" sz="1600" dirty="0"/>
          </a:p>
          <a:p>
            <a:pPr lvl="2"/>
            <a:endParaRPr lang="en-US" sz="1600" dirty="0"/>
          </a:p>
          <a:p>
            <a:r>
              <a:rPr lang="en-US" sz="1600" dirty="0"/>
              <a:t>Some examples :</a:t>
            </a:r>
          </a:p>
          <a:p>
            <a:pPr lvl="1"/>
            <a:r>
              <a:rPr lang="en-US" sz="1600" dirty="0"/>
              <a:t>Minimum lot size is equal to production batch constraint on the shopfloor.</a:t>
            </a:r>
          </a:p>
          <a:p>
            <a:pPr lvl="1"/>
            <a:r>
              <a:rPr lang="en-US" sz="1600" dirty="0"/>
              <a:t>Parts weights are equal to the real weights.</a:t>
            </a:r>
          </a:p>
          <a:p>
            <a:pPr marL="457200" lvl="1" indent="0">
              <a:buNone/>
            </a:pPr>
            <a:endParaRPr lang="es-ES" sz="1600" dirty="0"/>
          </a:p>
          <a:p>
            <a:pPr lvl="1"/>
            <a:endParaRPr lang="es-ES" sz="1600" dirty="0"/>
          </a:p>
          <a:p>
            <a:pPr lvl="1"/>
            <a:endParaRPr lang="es-ES" b="0" dirty="0"/>
          </a:p>
          <a:p>
            <a:pPr lvl="1"/>
            <a:endParaRPr lang="en-US" b="0" dirty="0"/>
          </a:p>
          <a:p>
            <a:endParaRPr lang="es-E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B2FD2B-6738-4796-8C54-C3517B862C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B3670-7CFA-4AE8-BD91-982E0BBFB5F8}" type="slidenum">
              <a:rPr lang="en-US" noProof="0" smtClean="0"/>
              <a:t>4</a:t>
            </a:fld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7A672D-820B-4D2D-BDDD-F9AD7EFD8B09}"/>
              </a:ext>
            </a:extLst>
          </p:cNvPr>
          <p:cNvSpPr>
            <a:spLocks noGrp="1"/>
          </p:cNvSpPr>
          <p:nvPr>
            <p:ph type="ftr" sz="quarter" idx="4294967295"/>
            <p:custDataLst>
              <p:tags r:id="rId1"/>
            </p:custDataLst>
          </p:nvPr>
        </p:nvSpPr>
        <p:spPr>
          <a:xfrm>
            <a:off x="0" y="6486525"/>
            <a:ext cx="12192000" cy="104775"/>
          </a:xfrm>
          <a:prstGeom prst="rect">
            <a:avLst/>
          </a:prstGeom>
        </p:spPr>
        <p:txBody>
          <a:bodyPr/>
          <a:lstStyle/>
          <a:p>
            <a:r>
              <a:rPr lang="es-ES" sz="200">
                <a:solidFill>
                  <a:srgbClr val="FFFFFF"/>
                </a:solidFill>
                <a:latin typeface="Arial" panose="020B0604020202020204" pitchFamily="34" charset="0"/>
              </a:rPr>
              <a:t>5acXjzUk</a:t>
            </a:r>
          </a:p>
        </p:txBody>
      </p:sp>
      <p:pic>
        <p:nvPicPr>
          <p:cNvPr id="9" name="bjClassifierImageTop">
            <a:extLst>
              <a:ext uri="{FF2B5EF4-FFF2-40B4-BE49-F238E27FC236}">
                <a16:creationId xmlns:a16="http://schemas.microsoft.com/office/drawing/2014/main" id="{A0EFA859-0CC5-4F17-B14D-5595A1BEF7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6239" y="12700"/>
            <a:ext cx="1359411" cy="445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1348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1B6C79-9EF3-451A-9B48-B31EE48C3B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Consistency result - explan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A3F2CA-FC24-4E11-808D-55EEE597F3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2000" y="1013639"/>
            <a:ext cx="11635679" cy="4903669"/>
          </a:xfrm>
        </p:spPr>
        <p:txBody>
          <a:bodyPr>
            <a:normAutofit/>
          </a:bodyPr>
          <a:lstStyle/>
          <a:p>
            <a:r>
              <a:rPr lang="es-ES"/>
              <a:t>Consistency </a:t>
            </a:r>
            <a:r>
              <a:rPr lang="fr-FR"/>
              <a:t>means :</a:t>
            </a:r>
            <a:endParaRPr lang="es-ES" sz="1600"/>
          </a:p>
          <a:p>
            <a:pPr lvl="2"/>
            <a:r>
              <a:rPr lang="en-US"/>
              <a:t>the </a:t>
            </a:r>
            <a:r>
              <a:rPr lang="en-US" dirty="0"/>
              <a:t>data format is correct or that the data is correct compared to other </a:t>
            </a:r>
            <a:r>
              <a:rPr lang="en-US"/>
              <a:t>data.</a:t>
            </a:r>
          </a:p>
          <a:p>
            <a:pPr lvl="2"/>
            <a:endParaRPr lang="en-US" sz="1600"/>
          </a:p>
          <a:p>
            <a:pPr lvl="2"/>
            <a:endParaRPr lang="en-US" sz="1600"/>
          </a:p>
          <a:p>
            <a:pPr lvl="2"/>
            <a:endParaRPr lang="en-US" sz="1600"/>
          </a:p>
          <a:p>
            <a:r>
              <a:rPr lang="en-US" sz="1600"/>
              <a:t>Some examples :</a:t>
            </a:r>
          </a:p>
          <a:p>
            <a:pPr lvl="1"/>
            <a:r>
              <a:rPr lang="en-US" sz="1600"/>
              <a:t>Rounding value is matching with packaging quantities</a:t>
            </a:r>
          </a:p>
          <a:p>
            <a:pPr lvl="1"/>
            <a:r>
              <a:rPr lang="en-US" sz="1600"/>
              <a:t>Parts weights are similar on material master (MM03) and purchasing schedule agreement (ME32L)</a:t>
            </a:r>
          </a:p>
          <a:p>
            <a:pPr lvl="1"/>
            <a:r>
              <a:rPr lang="en-US" sz="1600"/>
              <a:t>MRP profile is aligned with the part classification (meaning finished good is setup as finished good, component is setup as component).</a:t>
            </a:r>
            <a:endParaRPr lang="es-ES" sz="1600"/>
          </a:p>
          <a:p>
            <a:pPr lvl="1"/>
            <a:endParaRPr lang="es-ES" sz="1600"/>
          </a:p>
          <a:p>
            <a:pPr lvl="1"/>
            <a:endParaRPr lang="es-ES" sz="1600"/>
          </a:p>
          <a:p>
            <a:pPr lvl="1"/>
            <a:endParaRPr lang="es-ES" b="0"/>
          </a:p>
          <a:p>
            <a:pPr lvl="1"/>
            <a:endParaRPr lang="en-US" b="0"/>
          </a:p>
          <a:p>
            <a:endParaRPr lang="es-E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B2FD2B-6738-4796-8C54-C3517B862C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B3670-7CFA-4AE8-BD91-982E0BBFB5F8}" type="slidenum">
              <a:rPr lang="en-US" noProof="0" smtClean="0"/>
              <a:t>5</a:t>
            </a:fld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7A672D-820B-4D2D-BDDD-F9AD7EFD8B09}"/>
              </a:ext>
            </a:extLst>
          </p:cNvPr>
          <p:cNvSpPr>
            <a:spLocks noGrp="1"/>
          </p:cNvSpPr>
          <p:nvPr>
            <p:ph type="ftr" sz="quarter" idx="4294967295"/>
            <p:custDataLst>
              <p:tags r:id="rId1"/>
            </p:custDataLst>
          </p:nvPr>
        </p:nvSpPr>
        <p:spPr>
          <a:xfrm>
            <a:off x="0" y="6486525"/>
            <a:ext cx="12192000" cy="104775"/>
          </a:xfrm>
          <a:prstGeom prst="rect">
            <a:avLst/>
          </a:prstGeom>
        </p:spPr>
        <p:txBody>
          <a:bodyPr/>
          <a:lstStyle/>
          <a:p>
            <a:r>
              <a:rPr lang="es-ES" sz="200">
                <a:solidFill>
                  <a:srgbClr val="FFFFFF"/>
                </a:solidFill>
                <a:latin typeface="Arial" panose="020B0604020202020204" pitchFamily="34" charset="0"/>
              </a:rPr>
              <a:t>5acXjzUk</a:t>
            </a:r>
          </a:p>
        </p:txBody>
      </p:sp>
      <p:pic>
        <p:nvPicPr>
          <p:cNvPr id="9" name="bjClassifierImageTop">
            <a:extLst>
              <a:ext uri="{FF2B5EF4-FFF2-40B4-BE49-F238E27FC236}">
                <a16:creationId xmlns:a16="http://schemas.microsoft.com/office/drawing/2014/main" id="{D830920E-A428-4319-B141-8B084A64E3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6239" y="12700"/>
            <a:ext cx="1359411" cy="445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5335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5acXjzUk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18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3</a:t>
            </a:r>
          </a:p>
        </p:txBody>
      </p:sp>
      <p:grpSp>
        <p:nvGrpSpPr>
          <p:cNvPr id="12" name="Groupe 9"/>
          <p:cNvGrpSpPr/>
          <p:nvPr/>
        </p:nvGrpSpPr>
        <p:grpSpPr>
          <a:xfrm>
            <a:off x="2089150" y="2608217"/>
            <a:ext cx="8013700" cy="653272"/>
            <a:chOff x="1031086" y="1826457"/>
            <a:chExt cx="10090570" cy="653272"/>
          </a:xfrm>
        </p:grpSpPr>
        <p:sp>
          <p:nvSpPr>
            <p:cNvPr id="13" name="Rectangle 12"/>
            <p:cNvSpPr/>
            <p:nvPr userDrawn="1"/>
          </p:nvSpPr>
          <p:spPr>
            <a:xfrm>
              <a:off x="2014780" y="1826457"/>
              <a:ext cx="9106876" cy="65327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72000" bIns="72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394200" algn="l"/>
                </a:tabLst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Master data </a:t>
              </a:r>
              <a:r>
                <a:rPr lang="en-US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Auditing Target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1031086" y="1826457"/>
              <a:ext cx="800692" cy="653272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24" name="Groupe 15"/>
          <p:cNvGrpSpPr/>
          <p:nvPr/>
        </p:nvGrpSpPr>
        <p:grpSpPr>
          <a:xfrm>
            <a:off x="2089150" y="3471691"/>
            <a:ext cx="8013700" cy="653272"/>
            <a:chOff x="1031086" y="3820959"/>
            <a:chExt cx="10090574" cy="653272"/>
          </a:xfrm>
        </p:grpSpPr>
        <p:sp>
          <p:nvSpPr>
            <p:cNvPr id="26" name="Rectangle 25"/>
            <p:cNvSpPr/>
            <p:nvPr/>
          </p:nvSpPr>
          <p:spPr>
            <a:xfrm>
              <a:off x="1031086" y="3820959"/>
              <a:ext cx="800692" cy="653272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2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2014780" y="3820959"/>
              <a:ext cx="9106876" cy="653272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72000" bIns="72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394200" algn="l"/>
                </a:tabLst>
                <a:defRPr/>
              </a:pPr>
              <a:r>
                <a:rPr lang="en-US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2023 Auditing Plan for FCM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19" name="bjClassifierImageTop">
            <a:extLst>
              <a:ext uri="{FF2B5EF4-FFF2-40B4-BE49-F238E27FC236}">
                <a16:creationId xmlns:a16="http://schemas.microsoft.com/office/drawing/2014/main" id="{4FD488F8-CC3D-420B-97C3-7AF1A76FE8A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6239" y="12700"/>
            <a:ext cx="1359411" cy="445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6202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828C97-5DB4-4449-901D-6F0F24FD80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aster data </a:t>
            </a:r>
            <a:r>
              <a:rPr lang="en-US" b="1" dirty="0">
                <a:latin typeface="Century Gothic" panose="020B0502020202020204" pitchFamily="34" charset="0"/>
              </a:rPr>
              <a:t>Auditing Plan of 2023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endParaRPr lang="fr-F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2A5F14-967B-41AA-884D-6776486AC9B8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FR"/>
              <a:t>5acXjzU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49E7E8-0EE6-4FC6-BC70-312C6A4CD0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4</a:t>
            </a:r>
            <a:endParaRPr lang="fr-FR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6C274B2-9AF8-405B-8AC6-C23DC26F34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6941" y="1799171"/>
            <a:ext cx="11630742" cy="1258928"/>
          </a:xfrm>
        </p:spPr>
        <p:txBody>
          <a:bodyPr/>
          <a:lstStyle/>
          <a:p>
            <a:r>
              <a:rPr lang="en-US" dirty="0"/>
              <a:t>Auditing Tools involved: </a:t>
            </a:r>
          </a:p>
          <a:p>
            <a:pPr marL="457200" indent="-457200">
              <a:buFont typeface="Wingdings" panose="05000000000000000000" pitchFamily="2" charset="2"/>
              <a:buAutoNum type="arabicPeriod"/>
            </a:pPr>
            <a:r>
              <a:rPr lang="en-US" sz="1800" b="0" dirty="0">
                <a:latin typeface="Segoe UI" panose="020B0502040204020203" pitchFamily="34" charset="0"/>
                <a:cs typeface="Segoe UI" panose="020B0502040204020203" pitchFamily="34" charset="0"/>
              </a:rPr>
              <a:t>Materials List of auditing should be prepared to be compared the truth/reality number vs. SAP number</a:t>
            </a:r>
          </a:p>
          <a:p>
            <a:pPr marL="457200" indent="-457200">
              <a:buFont typeface="Wingdings" panose="05000000000000000000" pitchFamily="2" charset="2"/>
              <a:buAutoNum type="arabicPeriod"/>
            </a:pPr>
            <a:r>
              <a:rPr lang="en-US" sz="1800" b="0" dirty="0">
                <a:latin typeface="Segoe UI" panose="020B0502040204020203" pitchFamily="34" charset="0"/>
                <a:cs typeface="Segoe UI" panose="020B0502040204020203" pitchFamily="34" charset="0"/>
              </a:rPr>
              <a:t>RPA robot could automatically </a:t>
            </a:r>
            <a:r>
              <a:rPr lang="es-ES" sz="1800" b="0" dirty="0">
                <a:latin typeface="Segoe UI" panose="020B0502040204020203" pitchFamily="34" charset="0"/>
                <a:cs typeface="Segoe UI" panose="020B0502040204020203" pitchFamily="34" charset="0"/>
              </a:rPr>
              <a:t>retrieve data </a:t>
            </a:r>
            <a:r>
              <a:rPr lang="en-US" sz="1800" b="0" dirty="0">
                <a:latin typeface="Segoe UI" panose="020B0502040204020203" pitchFamily="34" charset="0"/>
                <a:cs typeface="Segoe UI" panose="020B0502040204020203" pitchFamily="34" charset="0"/>
              </a:rPr>
              <a:t>from SAP system</a:t>
            </a:r>
          </a:p>
          <a:p>
            <a:pPr marL="457200" indent="-457200">
              <a:buFont typeface="Wingdings" panose="05000000000000000000" pitchFamily="2" charset="2"/>
              <a:buAutoNum type="arabicPeriod"/>
            </a:pPr>
            <a:endParaRPr lang="en-US" b="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Content Placeholder 10">
            <a:extLst>
              <a:ext uri="{FF2B5EF4-FFF2-40B4-BE49-F238E27FC236}">
                <a16:creationId xmlns:a16="http://schemas.microsoft.com/office/drawing/2014/main" id="{03294D37-AC55-4933-93B4-FBD1155B9938}"/>
              </a:ext>
            </a:extLst>
          </p:cNvPr>
          <p:cNvSpPr txBox="1">
            <a:spLocks/>
          </p:cNvSpPr>
          <p:nvPr/>
        </p:nvSpPr>
        <p:spPr>
          <a:xfrm>
            <a:off x="282001" y="3100778"/>
            <a:ext cx="11610663" cy="205262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fr-FR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uditing People involved:</a:t>
            </a:r>
          </a:p>
          <a:p>
            <a:pPr marL="457200" indent="-457200">
              <a:buAutoNum type="arabicPeriod"/>
            </a:pPr>
            <a:r>
              <a:rPr lang="en-US" sz="1800" b="0" dirty="0">
                <a:latin typeface="Segoe UI" panose="020B0502040204020203" pitchFamily="34" charset="0"/>
                <a:cs typeface="Segoe UI" panose="020B0502040204020203" pitchFamily="34" charset="0"/>
              </a:rPr>
              <a:t>One delegate from DRF team will take the lead of the annual auditing plan, and he/she will be also needed to track the auditing process through the camera</a:t>
            </a:r>
          </a:p>
          <a:p>
            <a:pPr marL="457200" indent="-457200">
              <a:buAutoNum type="arabicPeriod"/>
            </a:pPr>
            <a:r>
              <a:rPr lang="en-US" sz="1800" b="0" dirty="0">
                <a:latin typeface="Segoe UI" panose="020B0502040204020203" pitchFamily="34" charset="0"/>
                <a:cs typeface="Segoe UI" panose="020B0502040204020203" pitchFamily="34" charset="0"/>
              </a:rPr>
              <a:t>RPA team will take charge of RPA robot operation</a:t>
            </a:r>
          </a:p>
          <a:p>
            <a:pPr marL="457200" indent="-457200">
              <a:buAutoNum type="arabicPeriod"/>
            </a:pPr>
            <a:r>
              <a:rPr lang="en-US" sz="1800" b="0" dirty="0">
                <a:latin typeface="Segoe UI" panose="020B0502040204020203" pitchFamily="34" charset="0"/>
                <a:cs typeface="Segoe UI" panose="020B0502040204020203" pitchFamily="34" charset="0"/>
              </a:rPr>
              <a:t>Division and Plant support will be needed correspondingly </a:t>
            </a:r>
          </a:p>
        </p:txBody>
      </p:sp>
      <p:pic>
        <p:nvPicPr>
          <p:cNvPr id="22" name="bjClassifierImageTop">
            <a:extLst>
              <a:ext uri="{FF2B5EF4-FFF2-40B4-BE49-F238E27FC236}">
                <a16:creationId xmlns:a16="http://schemas.microsoft.com/office/drawing/2014/main" id="{87453167-5693-424D-B82C-84F220D410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6239" y="12700"/>
            <a:ext cx="1359411" cy="445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70769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828C97-5DB4-4449-901D-6F0F24FD80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aster data </a:t>
            </a:r>
            <a:r>
              <a:rPr lang="en-US" b="1" dirty="0">
                <a:latin typeface="Century Gothic" panose="020B0502020202020204" pitchFamily="34" charset="0"/>
              </a:rPr>
              <a:t>Auditing Plan of 2023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endParaRPr lang="fr-F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2A5F14-967B-41AA-884D-6776486AC9B8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FR"/>
              <a:t>5acXjzUk</a:t>
            </a:r>
            <a:endParaRPr lang="fr-FR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49E7E8-0EE6-4FC6-BC70-312C6A4CD0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5</a:t>
            </a:r>
            <a:endParaRPr lang="fr-FR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6C274B2-9AF8-405B-8AC6-C23DC26F34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5645" y="3307954"/>
            <a:ext cx="11630742" cy="442678"/>
          </a:xfrm>
        </p:spPr>
        <p:txBody>
          <a:bodyPr/>
          <a:lstStyle/>
          <a:p>
            <a:r>
              <a:rPr lang="en-US" dirty="0"/>
              <a:t>Auditing Year Plan: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10AAB0BA-FF9F-4EEC-B82A-1752275AAEA5}"/>
              </a:ext>
            </a:extLst>
          </p:cNvPr>
          <p:cNvSpPr txBox="1">
            <a:spLocks/>
          </p:cNvSpPr>
          <p:nvPr/>
        </p:nvSpPr>
        <p:spPr>
          <a:xfrm>
            <a:off x="307017" y="1450243"/>
            <a:ext cx="11610663" cy="16781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fr-FR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uditing Process:</a:t>
            </a:r>
          </a:p>
          <a:p>
            <a:pPr marL="457200" indent="-457200">
              <a:buAutoNum type="arabicPeriod"/>
            </a:pPr>
            <a:r>
              <a:rPr lang="en-US" sz="1800" b="0" dirty="0">
                <a:latin typeface="Segoe UI" panose="020B0502040204020203" pitchFamily="34" charset="0"/>
                <a:cs typeface="Segoe UI" panose="020B0502040204020203" pitchFamily="34" charset="0"/>
              </a:rPr>
              <a:t>Prepared material lists of auditing for plants and send file before starting audit process</a:t>
            </a:r>
          </a:p>
          <a:p>
            <a:pPr marL="457200" indent="-457200">
              <a:buAutoNum type="arabicPeriod"/>
            </a:pPr>
            <a:r>
              <a:rPr lang="en-US" sz="1800" b="0" dirty="0">
                <a:latin typeface="Segoe UI" panose="020B0502040204020203" pitchFamily="34" charset="0"/>
                <a:cs typeface="Segoe UI" panose="020B0502040204020203" pitchFamily="34" charset="0"/>
              </a:rPr>
              <a:t>Count the number and check the authenticity of the current SAP result</a:t>
            </a:r>
          </a:p>
          <a:p>
            <a:pPr marL="457200" indent="-457200">
              <a:buAutoNum type="arabicPeriod"/>
            </a:pPr>
            <a:r>
              <a:rPr lang="en-US" sz="1800" b="0" dirty="0">
                <a:latin typeface="Segoe UI" panose="020B0502040204020203" pitchFamily="34" charset="0"/>
                <a:cs typeface="Segoe UI" panose="020B0502040204020203" pitchFamily="34" charset="0"/>
              </a:rPr>
              <a:t>Enter random number in the SAP system to check the calculation process is correct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54ED02F-B528-4367-A204-505BC221293F}"/>
              </a:ext>
            </a:extLst>
          </p:cNvPr>
          <p:cNvGrpSpPr/>
          <p:nvPr/>
        </p:nvGrpSpPr>
        <p:grpSpPr>
          <a:xfrm>
            <a:off x="692735" y="3303981"/>
            <a:ext cx="10569846" cy="2615846"/>
            <a:chOff x="832219" y="3649317"/>
            <a:chExt cx="10569846" cy="2252187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90105C4F-882A-4878-8EC4-180196CEBB72}"/>
                </a:ext>
              </a:extLst>
            </p:cNvPr>
            <p:cNvGrpSpPr/>
            <p:nvPr/>
          </p:nvGrpSpPr>
          <p:grpSpPr>
            <a:xfrm>
              <a:off x="832219" y="3649317"/>
              <a:ext cx="10527562" cy="1762502"/>
              <a:chOff x="883403" y="3693352"/>
              <a:chExt cx="10527562" cy="1762502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326ACCFE-29A0-42FE-90C7-05433E9AB6A1}"/>
                  </a:ext>
                </a:extLst>
              </p:cNvPr>
              <p:cNvSpPr txBox="1"/>
              <p:nvPr/>
            </p:nvSpPr>
            <p:spPr>
              <a:xfrm>
                <a:off x="883403" y="4101637"/>
                <a:ext cx="4440265" cy="1354217"/>
              </a:xfrm>
              <a:prstGeom prst="rect">
                <a:avLst/>
              </a:prstGeom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indent="0">
                  <a:buNone/>
                </a:pPr>
                <a:r>
                  <a:rPr lang="en-US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77 Plants</a:t>
                </a:r>
              </a:p>
              <a:p>
                <a:pPr marL="0" indent="0">
                  <a:buNone/>
                </a:pPr>
                <a:r>
                  <a:rPr lang="en-US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2 Auditing per plant per year</a:t>
                </a:r>
              </a:p>
              <a:p>
                <a:pPr marL="0" indent="0">
                  <a:buNone/>
                </a:pPr>
                <a:r>
                  <a:rPr lang="en-US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43 rest work weeks of 2023 (W08 to W50)</a:t>
                </a:r>
              </a:p>
              <a:p>
                <a:pPr marL="0" indent="0">
                  <a:buNone/>
                </a:pPr>
                <a:r>
                  <a:rPr lang="en-US" sz="1400" dirty="0">
                    <a:solidFill>
                      <a:schemeClr val="accent5">
                        <a:lumMod val="7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Note: W06 and W07 will test the RPA tools and confirmed with division of the auditing time</a:t>
                </a:r>
              </a:p>
            </p:txBody>
          </p:sp>
          <p:sp>
            <p:nvSpPr>
              <p:cNvPr id="17" name="Arrow: Down 16">
                <a:extLst>
                  <a:ext uri="{FF2B5EF4-FFF2-40B4-BE49-F238E27FC236}">
                    <a16:creationId xmlns:a16="http://schemas.microsoft.com/office/drawing/2014/main" id="{17FEEA85-B7AB-43DA-9629-7F283011C91E}"/>
                  </a:ext>
                </a:extLst>
              </p:cNvPr>
              <p:cNvSpPr/>
              <p:nvPr/>
            </p:nvSpPr>
            <p:spPr>
              <a:xfrm rot="16200000">
                <a:off x="5698831" y="4510719"/>
                <a:ext cx="339634" cy="437369"/>
              </a:xfrm>
              <a:prstGeom prst="downArrow">
                <a:avLst/>
              </a:prstGeom>
              <a:ln/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highlight>
                    <a:srgbClr val="FFFF00"/>
                  </a:highlight>
                </a:endParaRP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89D83923-7C56-4ABE-8F9F-7B46D0A36ADB}"/>
                  </a:ext>
                </a:extLst>
              </p:cNvPr>
              <p:cNvSpPr txBox="1"/>
              <p:nvPr/>
            </p:nvSpPr>
            <p:spPr>
              <a:xfrm>
                <a:off x="6413629" y="3693352"/>
                <a:ext cx="4997336" cy="1033457"/>
              </a:xfrm>
              <a:prstGeom prst="rect">
                <a:avLst/>
              </a:prstGeom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indent="0">
                  <a:buNone/>
                </a:pPr>
                <a:r>
                  <a:rPr lang="en-US" dirty="0"/>
                  <a:t>(77*2)/43= 3.58</a:t>
                </a:r>
              </a:p>
              <a:p>
                <a:pPr marL="0" indent="0">
                  <a:buNone/>
                </a:pPr>
                <a:r>
                  <a:rPr lang="en-US" dirty="0"/>
                  <a:t>Involved upcoming day-off and vacation,</a:t>
                </a:r>
              </a:p>
              <a:p>
                <a:pPr marL="0" indent="0">
                  <a:buNone/>
                </a:pPr>
                <a:r>
                  <a:rPr lang="en-US" b="1" dirty="0"/>
                  <a:t>We would audit 3 plants per week having day-off, We would audit 4 plants per normal week</a:t>
                </a:r>
              </a:p>
            </p:txBody>
          </p:sp>
        </p:grp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C190E3E-1F7F-4AE4-B373-2D86F6063134}"/>
                </a:ext>
              </a:extLst>
            </p:cNvPr>
            <p:cNvSpPr txBox="1"/>
            <p:nvPr/>
          </p:nvSpPr>
          <p:spPr>
            <a:xfrm>
              <a:off x="6354696" y="4868047"/>
              <a:ext cx="5047369" cy="1033457"/>
            </a:xfrm>
            <a:prstGeom prst="rect">
              <a:avLst/>
            </a:prstGeom>
            <a:ln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indent="0">
                <a:buNone/>
              </a:pPr>
              <a:r>
                <a:rPr lang="en-US" dirty="0"/>
                <a:t>8+(43/2)=29.5</a:t>
              </a:r>
            </a:p>
            <a:p>
              <a:pPr marL="0" indent="0">
                <a:buNone/>
              </a:pPr>
              <a:r>
                <a:rPr lang="en-US" b="1" dirty="0"/>
                <a:t>W30 with be the mid-term of the auditing</a:t>
              </a:r>
            </a:p>
            <a:p>
              <a:pPr marL="0" indent="0">
                <a:buNone/>
              </a:pPr>
              <a:r>
                <a:rPr lang="en-US" dirty="0"/>
                <a:t>=&gt; </a:t>
              </a:r>
              <a:r>
                <a:rPr lang="en-US" b="1" dirty="0"/>
                <a:t>Until 24th July, all 77 plants should already be audited one time</a:t>
              </a:r>
            </a:p>
          </p:txBody>
        </p:sp>
      </p:grpSp>
      <p:pic>
        <p:nvPicPr>
          <p:cNvPr id="29" name="bjClassifierImageTop">
            <a:extLst>
              <a:ext uri="{FF2B5EF4-FFF2-40B4-BE49-F238E27FC236}">
                <a16:creationId xmlns:a16="http://schemas.microsoft.com/office/drawing/2014/main" id="{3322C133-A472-4FCC-958B-F0921A2166C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6239" y="12700"/>
            <a:ext cx="1359411" cy="445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3232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828C97-5DB4-4449-901D-6F0F24FD80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aster data </a:t>
            </a:r>
            <a:r>
              <a:rPr lang="en-US" b="1" dirty="0">
                <a:latin typeface="Century Gothic" panose="020B0502020202020204" pitchFamily="34" charset="0"/>
              </a:rPr>
              <a:t>Auditing Plan of 2023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endParaRPr lang="fr-F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2A5F14-967B-41AA-884D-6776486AC9B8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FR"/>
              <a:t>5acXjzU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49E7E8-0EE6-4FC6-BC70-312C6A4CD0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6</a:t>
            </a:r>
            <a:endParaRPr lang="fr-FR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6C274B2-9AF8-405B-8AC6-C23DC26F34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6938" y="1070170"/>
            <a:ext cx="11630742" cy="432059"/>
          </a:xfrm>
        </p:spPr>
        <p:txBody>
          <a:bodyPr/>
          <a:lstStyle/>
          <a:p>
            <a:r>
              <a:rPr lang="en-US" dirty="0"/>
              <a:t>Auditing Year Plan in general view: Feb to Ju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C0A36-FBBB-4CAE-B1BD-1735DE17DB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31233" y="1502229"/>
            <a:ext cx="7729533" cy="5096587"/>
          </a:xfrm>
          <a:prstGeom prst="rect">
            <a:avLst/>
          </a:prstGeom>
        </p:spPr>
      </p:pic>
      <p:pic>
        <p:nvPicPr>
          <p:cNvPr id="19" name="bjClassifierImageTop">
            <a:extLst>
              <a:ext uri="{FF2B5EF4-FFF2-40B4-BE49-F238E27FC236}">
                <a16:creationId xmlns:a16="http://schemas.microsoft.com/office/drawing/2014/main" id="{E2AB852D-076B-457E-AF22-64B6507F46E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6239" y="12700"/>
            <a:ext cx="1359411" cy="445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0833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heme/theme1.xml><?xml version="1.0" encoding="utf-8"?>
<a:theme xmlns:a="http://schemas.openxmlformats.org/drawingml/2006/main" name="Thème Office">
  <a:themeElements>
    <a:clrScheme name="Faurecia">
      <a:dk1>
        <a:srgbClr val="0018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1896E"/>
      </a:hlink>
      <a:folHlink>
        <a:srgbClr val="AEC9E8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FAU 16-9" id="{E8F89200-0091-4A2A-BA05-284DE54F3BFF}" vid="{6956153A-848D-4BC2-92DD-E0A69D3B9B7D}"/>
    </a:ext>
  </a:extLst>
</a:theme>
</file>

<file path=ppt/theme/theme2.xml><?xml version="1.0" encoding="utf-8"?>
<a:theme xmlns:a="http://schemas.openxmlformats.org/drawingml/2006/main" name="1_Office Theme">
  <a:themeElements>
    <a:clrScheme name="FORVIA colors">
      <a:dk1>
        <a:srgbClr val="171616"/>
      </a:dk1>
      <a:lt1>
        <a:srgbClr val="FFFFFF"/>
      </a:lt1>
      <a:dk2>
        <a:srgbClr val="575757"/>
      </a:dk2>
      <a:lt2>
        <a:srgbClr val="8C8C8C"/>
      </a:lt2>
      <a:accent1>
        <a:srgbClr val="0024D3"/>
      </a:accent1>
      <a:accent2>
        <a:srgbClr val="F06473"/>
      </a:accent2>
      <a:accent3>
        <a:srgbClr val="00B48F"/>
      </a:accent3>
      <a:accent4>
        <a:srgbClr val="F58C35"/>
      </a:accent4>
      <a:accent5>
        <a:srgbClr val="00A9EB"/>
      </a:accent5>
      <a:accent6>
        <a:srgbClr val="FED34C"/>
      </a:accent6>
      <a:hlink>
        <a:srgbClr val="00A8BF"/>
      </a:hlink>
      <a:folHlink>
        <a:srgbClr val="954F72"/>
      </a:folHlink>
    </a:clrScheme>
    <a:fontScheme name="Custom 13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K PPT Template FORVIA Faurecia May 2022 FINAL" id="{21B18E54-D250-486C-B98E-EE38C87DA169}" vid="{6CA77ABF-BF78-444D-A0C8-C750637DA13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sisl xmlns:xsi="http://www.w3.org/2001/XMLSchema-instance" xmlns:xsd="http://www.w3.org/2001/XMLSchema" xmlns="http://www.boldonjames.com/2008/01/sie/internal/label" sislVersion="0" policy="2152ec2e-c0c1-4834-9aa1-dc782ab0e2aa" origin="defaultValue">
  <element uid="id_classification_confidential" value=""/>
</sisl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046C450D44E045B74B08F3040E0B96" ma:contentTypeVersion="12" ma:contentTypeDescription="Create a new document." ma:contentTypeScope="" ma:versionID="daf0517e8b1c89d54deeb92b577bf6ee">
  <xsd:schema xmlns:xsd="http://www.w3.org/2001/XMLSchema" xmlns:xs="http://www.w3.org/2001/XMLSchema" xmlns:p="http://schemas.microsoft.com/office/2006/metadata/properties" xmlns:ns2="6591b5f8-f957-42c2-9a77-f8be4087228f" xmlns:ns3="e123b70e-5080-4fb5-919e-ca1478781dd8" targetNamespace="http://schemas.microsoft.com/office/2006/metadata/properties" ma:root="true" ma:fieldsID="5ee1ae1e929580be10e2a8f105ea233a" ns2:_="" ns3:_="">
    <xsd:import namespace="6591b5f8-f957-42c2-9a77-f8be4087228f"/>
    <xsd:import namespace="e123b70e-5080-4fb5-919e-ca1478781dd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91b5f8-f957-42c2-9a77-f8be408722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53c519a9-c13d-4740-8502-4cbfbfea367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23b70e-5080-4fb5-919e-ca1478781dd8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d535e3ca-7d42-4e91-b58a-4d5549e70c2a}" ma:internalName="TaxCatchAll" ma:showField="CatchAllData" ma:web="e123b70e-5080-4fb5-919e-ca1478781dd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9445FA4-1569-4713-A0DC-85922489DE65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9CAB5C3F-9211-4869-B54C-EC046B1758C0}"/>
</file>

<file path=customXml/itemProps3.xml><?xml version="1.0" encoding="utf-8"?>
<ds:datastoreItem xmlns:ds="http://schemas.openxmlformats.org/officeDocument/2006/customXml" ds:itemID="{9B66804A-BFEF-4D53-B67A-9078691BC463}"/>
</file>

<file path=docProps/CustomMKOP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KProdID">
    <vt:lpwstr>ZMOutlook</vt:lpwstr>
  </property>
  <property fmtid="{D5CDD505-2E9C-101B-9397-08002B2CF9AE}" pid="3" name="SizeBefore">
    <vt:lpwstr>1208555</vt:lpwstr>
  </property>
  <property fmtid="{D5CDD505-2E9C-101B-9397-08002B2CF9AE}" pid="4" name="OptimizationTime">
    <vt:lpwstr>20230224_1908</vt:lpwstr>
  </property>
</Properties>
</file>

<file path=docProps/app.xml><?xml version="1.0" encoding="utf-8"?>
<Properties xmlns="http://schemas.openxmlformats.org/officeDocument/2006/extended-properties" xmlns:vt="http://schemas.openxmlformats.org/officeDocument/2006/docPropsVTypes">
  <TotalTime>181</TotalTime>
  <Words>529</Words>
  <Application>Microsoft Office PowerPoint</Application>
  <PresentationFormat>Widescreen</PresentationFormat>
  <Paragraphs>108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1" baseType="lpstr">
      <vt:lpstr>Arial</vt:lpstr>
      <vt:lpstr>Arial Black</vt:lpstr>
      <vt:lpstr>Calibri</vt:lpstr>
      <vt:lpstr>Calibri Light</vt:lpstr>
      <vt:lpstr>Century Gothic</vt:lpstr>
      <vt:lpstr>Segoe UI</vt:lpstr>
      <vt:lpstr>Segoe UI Symbol</vt:lpstr>
      <vt:lpstr>Wingdings</vt:lpstr>
      <vt:lpstr>Thème Office</vt:lpstr>
      <vt:lpstr>1_Office Theme</vt:lpstr>
      <vt:lpstr>think-cell Slide</vt:lpstr>
      <vt:lpstr>FCM Master data audit 2023</vt:lpstr>
      <vt:lpstr>Agenda</vt:lpstr>
      <vt:lpstr>Master data Auditing Target </vt:lpstr>
      <vt:lpstr>Accuracy result - explanation</vt:lpstr>
      <vt:lpstr>Consistency result - explanation</vt:lpstr>
      <vt:lpstr>Agenda</vt:lpstr>
      <vt:lpstr>Master data Auditing Plan of 2023 </vt:lpstr>
      <vt:lpstr>Master data Auditing Plan of 2023 </vt:lpstr>
      <vt:lpstr>Master data Auditing Plan of 2023 </vt:lpstr>
      <vt:lpstr>Master data Auditing Plan of 2023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CM Master data audit 2023</dc:title>
  <dc:creator>LI Jiaxue</dc:creator>
  <cp:lastModifiedBy>LI Jiaxue</cp:lastModifiedBy>
  <cp:revision>13</cp:revision>
  <dcterms:created xsi:type="dcterms:W3CDTF">2023-02-02T14:49:59Z</dcterms:created>
  <dcterms:modified xsi:type="dcterms:W3CDTF">2023-02-02T17:5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64a5d402-7f16-461d-9477-d594e8f2e445</vt:lpwstr>
  </property>
  <property fmtid="{D5CDD505-2E9C-101B-9397-08002B2CF9AE}" pid="3" name="bjDocumentLabelXML">
    <vt:lpwstr>&lt;?xml version="1.0" encoding="us-ascii"?&gt;&lt;sisl xmlns:xsi="http://www.w3.org/2001/XMLSchema-instance" xmlns:xsd="http://www.w3.org/2001/XMLSchema" sislVersion="0" policy="2152ec2e-c0c1-4834-9aa1-dc782ab0e2aa" origin="defaultValue" xmlns="http://www.boldonj</vt:lpwstr>
  </property>
  <property fmtid="{D5CDD505-2E9C-101B-9397-08002B2CF9AE}" pid="4" name="bjDocumentLabelXML-0">
    <vt:lpwstr>ames.com/2008/01/sie/internal/label"&gt;&lt;element uid="id_classification_confidential" value="" /&gt;&lt;/sisl&gt;</vt:lpwstr>
  </property>
  <property fmtid="{D5CDD505-2E9C-101B-9397-08002B2CF9AE}" pid="5" name="bjDocumentSecurityLabel">
    <vt:lpwstr>I N T E R N A L   &amp;   P A R T N E R S      </vt:lpwstr>
  </property>
  <property fmtid="{D5CDD505-2E9C-101B-9397-08002B2CF9AE}" pid="6" name="Vendor Id">
    <vt:lpwstr>uJy4KfOf</vt:lpwstr>
  </property>
  <property fmtid="{D5CDD505-2E9C-101B-9397-08002B2CF9AE}" pid="7" name="bjSlideMasterFooterText">
    <vt:lpwstr>5acXjzUk</vt:lpwstr>
  </property>
  <property fmtid="{D5CDD505-2E9C-101B-9397-08002B2CF9AE}" pid="8" name="bjSaver">
    <vt:lpwstr>aEtnsy5qGjjPU+cXYdqflWvJFlR9JRcp</vt:lpwstr>
  </property>
</Properties>
</file>